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5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7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8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1" r:id="rId4"/>
    <p:sldMasterId id="2147483921" r:id="rId5"/>
    <p:sldMasterId id="2147483996" r:id="rId6"/>
    <p:sldMasterId id="2147484080" r:id="rId7"/>
    <p:sldMasterId id="2147484144" r:id="rId8"/>
    <p:sldMasterId id="2147484224" r:id="rId9"/>
    <p:sldMasterId id="2147484321" r:id="rId10"/>
  </p:sldMasterIdLst>
  <p:notesMasterIdLst>
    <p:notesMasterId r:id="rId12"/>
  </p:notesMasterIdLst>
  <p:sldIdLst>
    <p:sldId id="2147483497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orient="horz" pos="840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F8F009-B1A1-AF9B-E2CC-BB0CF8EF433A}" name="Huang, Joanne" initials="JH" userId="S::joahuang@visa.com::05d18848-ed9a-4b8e-98cc-860121603a0f" providerId="AD"/>
  <p188:author id="{7A897A19-76C4-1B6F-F4A6-97D72EDE243E}" name="Gassman, Robert" initials="GR" userId="S::rogassma@visa.com::e40323a9-5df2-4c14-9823-c06d51179656" providerId="AD"/>
  <p188:author id="{5461031D-1634-2CFF-37D8-FEC0299E7757}" name="Akella, Chirag" initials="CA" userId="S::chiakell@visa.com::b5d8b5c9-ac34-4424-83db-a72e8640a6cf" providerId="AD"/>
  <p188:author id="{605DCD31-5235-F095-41F4-539BF36811B6}" name="Sposato, Vincent" initials="SV" userId="S::visposat@visa.com::b671af62-4b22-438c-a304-9401d45e2b21" providerId="AD"/>
  <p188:author id="{A852BF34-F5D4-1DF1-1EB3-F08BD99DE747}" name="Reutov, Alex" initials="RA" userId="S::oreutov@visa.com::3e5007a8-7783-4368-9f2a-975138273c61" providerId="AD"/>
  <p188:author id="{28512A3F-CE34-BB4C-AB52-DF47E831689B}" name="Zambrano Ramos, David" initials="" userId="S::dazambra@visa.com::5d5fce17-1c15-40cb-86ab-883b43dc5135" providerId="AD"/>
  <p188:author id="{DB705741-1F15-0407-4BF9-230EAD8A2621}" name="Brown, Cheyanne" initials="BC" userId="S::chebrown@visa.com::87fb6c11-22cc-49b0-b907-fd4052e267d3" providerId="AD"/>
  <p188:author id="{B4AC254E-2044-E76E-C694-868D61BB341B}" name="Kandavalli, Issac" initials="KI" userId="S::ikandava@visa.com::62993ad6-99d9-4fe6-8718-11eb1063be0c" providerId="AD"/>
  <p188:author id="{8034B24E-3B9F-212D-F8D1-5A2C0E73921D}" name="Birnberg, Adam" initials="AB" userId="S::abirnber@visa.com::82fafd15-c7d1-475d-af9a-928017c77a04" providerId="AD"/>
  <p188:author id="{E819D781-C460-F238-394D-6D5D73E9559A}" name="Haider, Asad" initials="HA" userId="S::ashaider@visa.com::e0455562-22f5-497f-ba56-249c0d1134e4" providerId="AD"/>
  <p188:author id="{103D8985-A33C-3468-F9DB-741E6C746646}" name="Kennedy, Joseph" initials="JK" userId="S::josekenn@visa.com::a16510d3-8e09-4cf2-b0a7-297887bca08b" providerId="AD"/>
  <p188:author id="{9906F8A7-C003-2A4C-B80D-F4E991EE823E}" name="Liu, Lorraine" initials="YL" userId="S::yanzliu@visa.com::2c13d54d-5d20-4799-a32e-582a69e3dadc" providerId="AD"/>
  <p188:author id="{EE2FFDAC-580D-4291-E3EC-9BB9F2E3AFEE}" name="Carsanaro, Scott" initials="CS" userId="S::scarsana@visa.com::56e8c9d5-2260-4ff6-9d81-72402f01e82c" providerId="AD"/>
  <p188:author id="{4DA26EAE-A4CD-9C64-B556-70FDF2F055B9}" name="Zhan, Stanley" initials="ZS" userId="S::szhan@visa.com::f9a7479b-6a66-4366-9ab0-45ff99aa70e1" providerId="AD"/>
  <p188:author id="{96D681B3-DF51-805F-3D7E-FDE7D3360DCB}" name="Parmar, Annubha" initials="PA" userId="S::aparmar@visa.com::34a1c2e9-f74e-4501-9288-1508aa585234" providerId="AD"/>
  <p188:author id="{E23482CB-865C-C3EA-6B33-135E3EE4B7A3}" name="Gorman, Saul" initials="SG" userId="S::sgorman@visa.com::9fbddb84-5edb-4eed-bce0-9bf6526a1857" providerId="AD"/>
  <p188:author id="{B812C4E9-EDD2-45A4-40E0-9203E7EF8443}" name="Granat, Michael" initials="MG" userId="S::mgranat@visa.com::b437a21d-4a69-4123-9025-9b6fb6094d1d" providerId="AD"/>
  <p188:author id="{9EA59FED-A219-3065-73E5-7389BE56EB01}" name="Hartman, Michael" initials="MH" userId="S::mihartma@visa.com::a5e4309d-3f1c-4a10-b421-8aa159ca0486" providerId="AD"/>
  <p188:author id="{7CC4E1F8-4FB4-9D60-AFA4-D76DCFF68EC5}" name="Mack, Susan" initials="MS" userId="S::sumack@visa.com::5f3a671e-bf3b-4171-9266-07ce4155aba0" providerId="AD"/>
  <p188:author id="{6BD9F1F8-2197-CF34-01C8-7335F823E9C5}" name="Bokaie, Davin" initials="DB" userId="S::dbokaie@visa.com::1854c3b0-386e-4d04-8c62-1dcd78a6c2c3" providerId="AD"/>
  <p188:author id="{E2DA32FF-8C12-7CCD-060F-62DDAE1D8348}" name="Debelak, Christopher" initials="DC" userId="S::cdebelak@visa.com::cb32202b-75e1-46ff-88d6-3ddf809a1f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wider, Allison" initials="SA" lastIdx="1" clrIdx="0">
    <p:extLst>
      <p:ext uri="{19B8F6BF-5375-455C-9EA6-DF929625EA0E}">
        <p15:presenceInfo xmlns:p15="http://schemas.microsoft.com/office/powerpoint/2012/main" userId="S::aswider@visa.com::18e6e3b6-464c-4ed5-a37a-82573eb6bd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A6D32"/>
    <a:srgbClr val="FFFFB9"/>
    <a:srgbClr val="FFD08B"/>
    <a:srgbClr val="FCC015"/>
    <a:srgbClr val="1434CB"/>
    <a:srgbClr val="021E4C"/>
    <a:srgbClr val="F0F0F0"/>
    <a:srgbClr val="F7A105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2702BD-32A1-4AEE-A610-D110B47AECF1}" v="5" dt="2024-07-30T19:42:06.306"/>
    <p1510:client id="{C3933A9B-4D8C-4381-AF5D-CB001018FB71}" v="26" dt="2024-07-30T15:30:11.514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71" autoAdjust="0"/>
    <p:restoredTop sz="94643"/>
  </p:normalViewPr>
  <p:slideViewPr>
    <p:cSldViewPr snapToGrid="0">
      <p:cViewPr varScale="1">
        <p:scale>
          <a:sx n="144" d="100"/>
          <a:sy n="144" d="100"/>
        </p:scale>
        <p:origin x="944" y="192"/>
      </p:cViewPr>
      <p:guideLst>
        <p:guide orient="horz" pos="2184"/>
        <p:guide orient="horz" pos="84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in, Rohit" userId="d730cf42-8c70-45f1-8cf9-0acd8eccdde5" providerId="ADAL" clId="{5B2702BD-32A1-4AEE-A610-D110B47AECF1}"/>
    <pc:docChg chg="custSel modSld">
      <pc:chgData name="Jain, Rohit" userId="d730cf42-8c70-45f1-8cf9-0acd8eccdde5" providerId="ADAL" clId="{5B2702BD-32A1-4AEE-A610-D110B47AECF1}" dt="2024-07-30T19:45:51.203" v="36" actId="1035"/>
      <pc:docMkLst>
        <pc:docMk/>
      </pc:docMkLst>
      <pc:sldChg chg="delSp modSp mod">
        <pc:chgData name="Jain, Rohit" userId="d730cf42-8c70-45f1-8cf9-0acd8eccdde5" providerId="ADAL" clId="{5B2702BD-32A1-4AEE-A610-D110B47AECF1}" dt="2024-07-30T19:42:18.555" v="12" actId="478"/>
        <pc:sldMkLst>
          <pc:docMk/>
          <pc:sldMk cId="338945700" sldId="339"/>
        </pc:sldMkLst>
        <pc:graphicFrameChg chg="del mod modVis">
          <ac:chgData name="Jain, Rohit" userId="d730cf42-8c70-45f1-8cf9-0acd8eccdde5" providerId="ADAL" clId="{5B2702BD-32A1-4AEE-A610-D110B47AECF1}" dt="2024-07-30T19:42:18.555" v="12" actId="478"/>
          <ac:graphicFrameMkLst>
            <pc:docMk/>
            <pc:sldMk cId="338945700" sldId="339"/>
            <ac:graphicFrameMk id="4" creationId="{611E7864-D9EA-D814-4B9E-15C388369829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07.522" v="10" actId="478"/>
        <pc:sldMkLst>
          <pc:docMk/>
          <pc:sldMk cId="3669853013" sldId="469"/>
        </pc:sldMkLst>
        <pc:graphicFrameChg chg="del mod modVis">
          <ac:chgData name="Jain, Rohit" userId="d730cf42-8c70-45f1-8cf9-0acd8eccdde5" providerId="ADAL" clId="{5B2702BD-32A1-4AEE-A610-D110B47AECF1}" dt="2024-07-30T19:42:07.522" v="10" actId="478"/>
          <ac:graphicFrameMkLst>
            <pc:docMk/>
            <pc:sldMk cId="3669853013" sldId="469"/>
            <ac:graphicFrameMk id="6" creationId="{C5C878BB-2599-ACAC-D19C-8397325D56B0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32.321" v="14" actId="478"/>
        <pc:sldMkLst>
          <pc:docMk/>
          <pc:sldMk cId="1385275178" sldId="2147376712"/>
        </pc:sldMkLst>
        <pc:graphicFrameChg chg="del mod modVis">
          <ac:chgData name="Jain, Rohit" userId="d730cf42-8c70-45f1-8cf9-0acd8eccdde5" providerId="ADAL" clId="{5B2702BD-32A1-4AEE-A610-D110B47AECF1}" dt="2024-07-30T19:42:32.321" v="14" actId="478"/>
          <ac:graphicFrameMkLst>
            <pc:docMk/>
            <pc:sldMk cId="1385275178" sldId="2147376712"/>
            <ac:graphicFrameMk id="5" creationId="{4518996F-A38A-4331-97B2-2EEC1E49C3C6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5:51.203" v="36" actId="1035"/>
        <pc:sldMkLst>
          <pc:docMk/>
          <pc:sldMk cId="2541320896" sldId="2147469300"/>
        </pc:sldMkLst>
        <pc:spChg chg="mod">
          <ac:chgData name="Jain, Rohit" userId="d730cf42-8c70-45f1-8cf9-0acd8eccdde5" providerId="ADAL" clId="{5B2702BD-32A1-4AEE-A610-D110B47AECF1}" dt="2024-07-30T19:45:51.203" v="36" actId="1035"/>
          <ac:spMkLst>
            <pc:docMk/>
            <pc:sldMk cId="2541320896" sldId="2147469300"/>
            <ac:spMk id="2" creationId="{11BA56A9-ECDF-768E-0D4A-CB948DBB671E}"/>
          </ac:spMkLst>
        </pc:spChg>
        <pc:graphicFrameChg chg="del mod modVis">
          <ac:chgData name="Jain, Rohit" userId="d730cf42-8c70-45f1-8cf9-0acd8eccdde5" providerId="ADAL" clId="{5B2702BD-32A1-4AEE-A610-D110B47AECF1}" dt="2024-07-30T19:43:18.814" v="28" actId="478"/>
          <ac:graphicFrameMkLst>
            <pc:docMk/>
            <pc:sldMk cId="2541320896" sldId="2147469300"/>
            <ac:graphicFrameMk id="10" creationId="{507B5B01-AFFA-7D5D-FD17-657ABB5397AF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54.362" v="20" actId="478"/>
        <pc:sldMkLst>
          <pc:docMk/>
          <pc:sldMk cId="3569717421" sldId="2147471879"/>
        </pc:sldMkLst>
        <pc:graphicFrameChg chg="del mod modVis">
          <ac:chgData name="Jain, Rohit" userId="d730cf42-8c70-45f1-8cf9-0acd8eccdde5" providerId="ADAL" clId="{5B2702BD-32A1-4AEE-A610-D110B47AECF1}" dt="2024-07-30T19:42:54.362" v="20" actId="478"/>
          <ac:graphicFrameMkLst>
            <pc:docMk/>
            <pc:sldMk cId="3569717421" sldId="2147471879"/>
            <ac:graphicFrameMk id="3" creationId="{D83FCD18-8042-43C1-92DE-D4AE276EBD08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42.616" v="16" actId="478"/>
        <pc:sldMkLst>
          <pc:docMk/>
          <pc:sldMk cId="3869484612" sldId="2147472060"/>
        </pc:sldMkLst>
        <pc:graphicFrameChg chg="del mod modVis">
          <ac:chgData name="Jain, Rohit" userId="d730cf42-8c70-45f1-8cf9-0acd8eccdde5" providerId="ADAL" clId="{5B2702BD-32A1-4AEE-A610-D110B47AECF1}" dt="2024-07-30T19:42:42.616" v="16" actId="478"/>
          <ac:graphicFrameMkLst>
            <pc:docMk/>
            <pc:sldMk cId="3869484612" sldId="2147472060"/>
            <ac:graphicFrameMk id="22" creationId="{34040889-B214-4D01-9468-8FA13E1EC9C9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3:13.967" v="26" actId="478"/>
        <pc:sldMkLst>
          <pc:docMk/>
          <pc:sldMk cId="1966686106" sldId="2147483487"/>
        </pc:sldMkLst>
        <pc:graphicFrameChg chg="del mod modVis">
          <ac:chgData name="Jain, Rohit" userId="d730cf42-8c70-45f1-8cf9-0acd8eccdde5" providerId="ADAL" clId="{5B2702BD-32A1-4AEE-A610-D110B47AECF1}" dt="2024-07-30T19:43:13.967" v="26" actId="478"/>
          <ac:graphicFrameMkLst>
            <pc:docMk/>
            <pc:sldMk cId="1966686106" sldId="2147483487"/>
            <ac:graphicFrameMk id="6" creationId="{00000000-0000-0000-0000-000000000000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47.954" v="18" actId="478"/>
        <pc:sldMkLst>
          <pc:docMk/>
          <pc:sldMk cId="4226551307" sldId="2147483490"/>
        </pc:sldMkLst>
        <pc:graphicFrameChg chg="del mod modVis">
          <ac:chgData name="Jain, Rohit" userId="d730cf42-8c70-45f1-8cf9-0acd8eccdde5" providerId="ADAL" clId="{5B2702BD-32A1-4AEE-A610-D110B47AECF1}" dt="2024-07-30T19:42:47.954" v="18" actId="478"/>
          <ac:graphicFrameMkLst>
            <pc:docMk/>
            <pc:sldMk cId="4226551307" sldId="2147483490"/>
            <ac:graphicFrameMk id="5" creationId="{EFFA4340-9812-E103-AFE5-D8146CC77C67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2:59.001" v="22" actId="478"/>
        <pc:sldMkLst>
          <pc:docMk/>
          <pc:sldMk cId="4055177740" sldId="2147483494"/>
        </pc:sldMkLst>
        <pc:graphicFrameChg chg="del mod modVis">
          <ac:chgData name="Jain, Rohit" userId="d730cf42-8c70-45f1-8cf9-0acd8eccdde5" providerId="ADAL" clId="{5B2702BD-32A1-4AEE-A610-D110B47AECF1}" dt="2024-07-30T19:42:59.001" v="22" actId="478"/>
          <ac:graphicFrameMkLst>
            <pc:docMk/>
            <pc:sldMk cId="4055177740" sldId="2147483494"/>
            <ac:graphicFrameMk id="3" creationId="{D83FCD18-8042-43C1-92DE-D4AE276EBD08}"/>
          </ac:graphicFrameMkLst>
        </pc:graphicFrameChg>
      </pc:sldChg>
      <pc:sldChg chg="delSp modSp mod">
        <pc:chgData name="Jain, Rohit" userId="d730cf42-8c70-45f1-8cf9-0acd8eccdde5" providerId="ADAL" clId="{5B2702BD-32A1-4AEE-A610-D110B47AECF1}" dt="2024-07-30T19:43:03.902" v="24" actId="478"/>
        <pc:sldMkLst>
          <pc:docMk/>
          <pc:sldMk cId="2797499301" sldId="2147483496"/>
        </pc:sldMkLst>
        <pc:graphicFrameChg chg="del mod modVis">
          <ac:chgData name="Jain, Rohit" userId="d730cf42-8c70-45f1-8cf9-0acd8eccdde5" providerId="ADAL" clId="{5B2702BD-32A1-4AEE-A610-D110B47AECF1}" dt="2024-07-30T19:43:03.902" v="24" actId="478"/>
          <ac:graphicFrameMkLst>
            <pc:docMk/>
            <pc:sldMk cId="2797499301" sldId="2147483496"/>
            <ac:graphicFrameMk id="3" creationId="{D83FCD18-8042-43C1-92DE-D4AE276EBD08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394413227494576E-2"/>
          <c:w val="1"/>
          <c:h val="0.893829803416694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_0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3' Q2</c:v>
                </c:pt>
                <c:pt idx="1">
                  <c:v>23' Q3</c:v>
                </c:pt>
                <c:pt idx="2">
                  <c:v>23' Q4</c:v>
                </c:pt>
                <c:pt idx="3">
                  <c:v>24' Q1</c:v>
                </c:pt>
                <c:pt idx="4">
                  <c:v>24' Q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34499999999999997</c:v>
                </c:pt>
                <c:pt idx="1">
                  <c:v>0.34</c:v>
                </c:pt>
                <c:pt idx="2">
                  <c:v>0.33200000000000002</c:v>
                </c:pt>
                <c:pt idx="3">
                  <c:v>0.32400000000000001</c:v>
                </c:pt>
                <c:pt idx="4">
                  <c:v>0.332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3B8-2A4B-AC00-CF855C6893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_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solidFill>
                <a:schemeClr val="bg1"/>
              </a:solidFill>
              <a:ln cap="rnd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3' Q2</c:v>
                </c:pt>
                <c:pt idx="1">
                  <c:v>23' Q3</c:v>
                </c:pt>
                <c:pt idx="2">
                  <c:v>23' Q4</c:v>
                </c:pt>
                <c:pt idx="3">
                  <c:v>24' Q1</c:v>
                </c:pt>
                <c:pt idx="4">
                  <c:v>24' Q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36200000000000004</c:v>
                </c:pt>
                <c:pt idx="1">
                  <c:v>0.35899999999999999</c:v>
                </c:pt>
                <c:pt idx="2">
                  <c:v>0.35499999999999998</c:v>
                </c:pt>
                <c:pt idx="3">
                  <c:v>0.35799999999999998</c:v>
                </c:pt>
                <c:pt idx="4">
                  <c:v>0.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3B8-2A4B-AC00-CF855C68936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482987424"/>
        <c:axId val="1512018112"/>
      </c:lineChart>
      <c:catAx>
        <c:axId val="1482987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2018112"/>
        <c:crosses val="autoZero"/>
        <c:auto val="1"/>
        <c:lblAlgn val="ctr"/>
        <c:lblOffset val="100"/>
        <c:noMultiLvlLbl val="0"/>
      </c:catAx>
      <c:valAx>
        <c:axId val="15120181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8298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887100036018502E-2"/>
          <c:y val="6.4952761296045047E-2"/>
          <c:w val="0.93622579992796295"/>
          <c:h val="0.846257520285256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rdhold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OW Accounts</c:v>
                </c:pt>
                <c:pt idx="1">
                  <c:v>Non TOW Account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6975</c:v>
                </c:pt>
                <c:pt idx="1">
                  <c:v>44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F9-C44F-B5D3-F11338D1EC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erse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OW Accounts</c:v>
                </c:pt>
                <c:pt idx="1">
                  <c:v>Non TOW Account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6703</c:v>
                </c:pt>
                <c:pt idx="1">
                  <c:v>5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BF9-C44F-B5D3-F11338D1EC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572273568"/>
        <c:axId val="572284368"/>
      </c:barChart>
      <c:catAx>
        <c:axId val="572273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2284368"/>
        <c:crosses val="autoZero"/>
        <c:auto val="1"/>
        <c:lblAlgn val="ctr"/>
        <c:lblOffset val="100"/>
        <c:noMultiLvlLbl val="0"/>
      </c:catAx>
      <c:valAx>
        <c:axId val="5722843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2273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3980F-B8C2-4587-A776-E4E2571EE93A}" type="datetimeFigureOut">
              <a:rPr lang="en-US" smtClean="0"/>
              <a:t>8/1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08A42C-AD86-49C3-A40D-3049056A85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7444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08A42C-AD86-49C3-A40D-3049056A85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305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10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2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video" Target="../media/media1.mp4"/><Relationship Id="rId7" Type="http://schemas.openxmlformats.org/officeDocument/2006/relationships/image" Target="../media/image10.png"/><Relationship Id="rId2" Type="http://schemas.microsoft.com/office/2007/relationships/media" Target="../media/media1.mp4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29.emf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pn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20.bin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21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17.sv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5" Type="http://schemas.openxmlformats.org/officeDocument/2006/relationships/image" Target="../media/image31.png"/><Relationship Id="rId4" Type="http://schemas.openxmlformats.org/officeDocument/2006/relationships/image" Target="../media/image46.emf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67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9.emf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2.sv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0.sv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6" Type="http://schemas.openxmlformats.org/officeDocument/2006/relationships/image" Target="../media/image49.png"/><Relationship Id="rId5" Type="http://schemas.openxmlformats.org/officeDocument/2006/relationships/image" Target="../media/image31.png"/><Relationship Id="rId4" Type="http://schemas.openxmlformats.org/officeDocument/2006/relationships/image" Target="../media/image46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sv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17.svg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67.jpe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svg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52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53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54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55.bin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6.bin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57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71.png"/><Relationship Id="rId5" Type="http://schemas.openxmlformats.org/officeDocument/2006/relationships/image" Target="../media/image70.emf"/><Relationship Id="rId4" Type="http://schemas.openxmlformats.org/officeDocument/2006/relationships/oleObject" Target="../embeddings/oleObject58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59.bin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60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5.sv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7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17.sv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video" Target="../media/media1.mp4"/><Relationship Id="rId7" Type="http://schemas.openxmlformats.org/officeDocument/2006/relationships/image" Target="../media/image10.png"/><Relationship Id="rId2" Type="http://schemas.microsoft.com/office/2007/relationships/media" Target="../media/media1.mp4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67.jpe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2.svg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.svg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42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9.xml"/><Relationship Id="rId6" Type="http://schemas.openxmlformats.org/officeDocument/2006/relationships/image" Target="../media/image41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0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1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2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3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4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5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6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7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8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9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0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1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2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3.xml"/><Relationship Id="rId6" Type="http://schemas.openxmlformats.org/officeDocument/2006/relationships/image" Target="../media/image47.png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4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5.xml"/><Relationship Id="rId5" Type="http://schemas.openxmlformats.org/officeDocument/2006/relationships/image" Target="../media/image2.png"/><Relationship Id="rId4" Type="http://schemas.openxmlformats.org/officeDocument/2006/relationships/image" Target="../media/image46.emf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6.xml"/><Relationship Id="rId4" Type="http://schemas.openxmlformats.org/officeDocument/2006/relationships/image" Target="../media/image29.emf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8.pn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video" Target="../media/media1.mp4"/><Relationship Id="rId7" Type="http://schemas.openxmlformats.org/officeDocument/2006/relationships/image" Target="../media/image10.png"/><Relationship Id="rId2" Type="http://schemas.microsoft.com/office/2007/relationships/media" Target="../media/media1.mp4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29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29.emf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490848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134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377693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386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819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814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605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" name="Rectangle 82">
            <a:extLst>
              <a:ext uri="{FF2B5EF4-FFF2-40B4-BE49-F238E27FC236}">
                <a16:creationId xmlns:a16="http://schemas.microsoft.com/office/drawing/2014/main" id="{B4D8DFF6-CA16-A477-8E82-075E1683BF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A2A2D62-913E-4AAA-C059-E804BF80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12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054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25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83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227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630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842643-0001-43A1-8A1D-935AC13EF9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401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449612" y="659798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533885-FB97-4BC6-993A-9DC5563047F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934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409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282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770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37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139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581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582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2D6F3F-2B06-47D0-B011-DEE222649B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382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56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568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383802" y="6579619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615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103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D914B-3AFE-47C3-BF0E-9F2857DB64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11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34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225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7F5ACA36-7B90-4DAB-9853-21FD876EE1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591" y="282057"/>
            <a:ext cx="3260557" cy="182880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64E791DD-49B1-496A-A392-7FC776855F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6004" y="4725878"/>
            <a:ext cx="3260558" cy="1828800"/>
          </a:xfrm>
          <a:prstGeom prst="rect">
            <a:avLst/>
          </a:prstGeom>
        </p:spPr>
      </p:pic>
      <p:pic>
        <p:nvPicPr>
          <p:cNvPr id="12" name="Picture 11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51BF93FB-67CC-AB45-8F7F-896B8D199E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992" y="396682"/>
            <a:ext cx="3656002" cy="644005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489385-8E1D-F44F-AA67-025F1040A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05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8AF792-8FA8-490C-A12A-00B7F7C25E3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FFFC91-7B2C-4594-BBB8-5279D017364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94327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  <p15:guide id="13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4F9840-9E8F-43BB-876D-6619929D9C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786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F408AB-69B0-441A-9B12-C7BA941530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732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C9290-886E-4D7E-9009-0ACD4751EE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5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6E6A59-D2EF-466D-A88F-3B7C0E9FCD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9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01E167C1-AF1A-49C1-B2DA-711E50FCCA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5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387579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983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788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6FC2312-8932-4742-9352-D9582897CC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26209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D7751A-3D2C-4958-8F3D-7FD3A46C3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3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2" imgH="378" progId="TCLayout.ActiveDocument.1">
                  <p:embed/>
                </p:oleObj>
              </mc:Choice>
              <mc:Fallback>
                <p:oleObj name="think-cell Slide" r:id="rId3" imgW="382" imgH="3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D7751A-3D2C-4958-8F3D-7FD3A46C3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2B55CED-442B-411B-B70F-3E692974BDC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D0776-1F23-4D62-9F8D-E0CA57957C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918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6B1A94-9885-4083-B250-B2F8FCFE31F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83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2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D8F4C4-5704-49EA-A065-468B22A4611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67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4C3246-B392-4150-9B5C-C1BCC3CEDE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90257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160D80-66DD-46E8-A1A8-3B4B3B81CA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452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160D80-66DD-46E8-A1A8-3B4B3B81C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4A35BE-3B8F-4F3E-B795-82BFC49D77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err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9312020"/>
      </p:ext>
    </p:extLst>
  </p:cSld>
  <p:clrMapOvr>
    <a:masterClrMapping/>
  </p:clrMapOvr>
  <p:hf sldNum="0"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7C03D-C54D-40F9-AE6B-95171A261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4DB319-1DBD-4158-A53E-69B8D62FF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822C-F838-414C-BE88-4C36BDF8A5E0}" type="datetimeFigureOut">
              <a:rPr lang="en-US" smtClean="0"/>
              <a:t>8/1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DD8B8A-BE34-4A8E-84DB-6FB75CE4C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D4E8CF-5B8A-42F4-ADE9-A70238546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729373"/>
      </p:ext>
    </p:extLst>
  </p:cSld>
  <p:clrMapOvr>
    <a:masterClrMapping/>
  </p:clrMapOvr>
  <p:hf sldNum="0"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0"/>
            <a:ext cx="11293841" cy="4572000"/>
          </a:xfrm>
        </p:spPr>
        <p:txBody>
          <a:bodyPr wrap="square"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801688" marR="0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noProof="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227013" marR="0" lvl="1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227013" marR="0" lvl="2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27013" marR="0" lvl="3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3B34DA0-1F00-4816-88BC-EF46999D46D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3303757821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</p:spTree>
    <p:extLst>
      <p:ext uri="{BB962C8B-B14F-4D97-AF65-F5344CB8AC3E}">
        <p14:creationId xmlns:p14="http://schemas.microsoft.com/office/powerpoint/2010/main" val="2275598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6BDB3E-4F1B-4982-8BF9-AA6B1F1569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99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6BDB3E-4F1B-4982-8BF9-AA6B1F156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336C443-77E6-4A75-B607-C9BA335CB0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9" y="6453308"/>
            <a:ext cx="1118512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  <a:latin typeface="Segoe UI "/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4863302"/>
      </p:ext>
    </p:extLst>
  </p:cSld>
  <p:clrMapOvr>
    <a:masterClrMapping/>
  </p:clrMapOvr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940288"/>
      </p:ext>
    </p:extLst>
  </p:cSld>
  <p:clrMapOvr>
    <a:masterClrMapping/>
  </p:clrMapOvr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3933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ED51B5-9107-44F8-8ED0-1DB5982AF2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854867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74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10126665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803244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3923318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453775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266488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803244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97467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323719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4233195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ategic Priority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44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8940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397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Dark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8AFEF0-CB40-4365-A775-D6F2BB16FA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"/>
          <a:stretch/>
        </p:blipFill>
        <p:spPr>
          <a:xfrm>
            <a:off x="0" y="693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EC1F21-AAC7-8A41-9558-DBE34F21E8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FB0E0BF-8F1B-C647-A3D3-2167637E4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3D750A-F4C0-194B-A4D8-5A5E6C4DEE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7" name="Picture 6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058CA6E-5F4B-F941-BD6B-E82D893B12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C5AB2C-D691-9849-BDBB-E7E6DFBD91C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1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B3BF8-5AE5-EB46-8B57-998DACED1EF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1"/>
                </a:solidFill>
              </a:rPr>
              <a:pPr algn="r"/>
              <a:t>‹#›</a:t>
            </a:fld>
            <a:endParaRPr lang="en-US" sz="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64876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876AED2-1CFF-4BDE-9E1E-69CBC3EB0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15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848DAD-A1C5-BA4C-9B67-B4FD8714D28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7F36E9A5-B20B-9240-BE59-A48AFE097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173" y="1610833"/>
            <a:ext cx="5481827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856474F-DB99-E44D-BFE6-6C67698BAD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173" y="2647860"/>
            <a:ext cx="5481826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03B21D41-9026-49AE-9F0C-C3635D6835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560AEA-675B-0747-9C5B-DBF5C5D4574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5C2A6-77D3-EE48-B7DC-5AD197DBE1D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68482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3841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Animated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0FA535-D4AF-42CF-9E01-4C837F26F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4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2" imgH="378" progId="TCLayout.ActiveDocument.1">
                  <p:embed/>
                </p:oleObj>
              </mc:Choice>
              <mc:Fallback>
                <p:oleObj name="think-cell Slide" r:id="rId5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0FA535-D4AF-42CF-9E01-4C837F26F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A6D42A5-3782-4C2C-9F77-15CD87FBF908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ver animation" descr="Cover animation">
            <a:extLst>
              <a:ext uri="{FF2B5EF4-FFF2-40B4-BE49-F238E27FC236}">
                <a16:creationId xmlns:a16="http://schemas.microsoft.com/office/drawing/2014/main" id="{7FC1DE2B-DAD6-47AB-9CB9-E8506337D6A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522783" y="0"/>
            <a:ext cx="5669217" cy="682391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F72CCA6-9EE3-C247-B43B-2AA3A4865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92D8FE-1B47-1448-BFAB-BD805161A9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9F79052-C88A-1048-8CED-1033FB84B14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8" name="Picture 7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D388E55-55D7-5C40-ADE9-5CEA3FE422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99D746-2464-FD49-84E3-654E4F57AC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86940F-7C28-224B-98AB-1812886ABDC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263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0E12C26-1E94-CB42-8023-58210ADC5F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3FB5CC-A908-C349-A4A1-3544609E2C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8B5B4A7-F017-C24F-89BE-552CF18DD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F4E330-F8C7-B84B-AAAB-64D4D5BB75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9" name="Picture 18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FC0D15E3-B337-0549-B525-3F77087FC5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1405" y="208974"/>
            <a:ext cx="3774637" cy="664902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070F02-578B-3443-B637-00D27509AA5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7C0451-24A4-DD41-B323-03E7C37034A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1F78A4-DBDB-4267-92AD-FFB06CFE32B1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87645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FEC35DF-7B4B-3640-B202-6D0D3C8927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29A6456-0C45-5243-BC7D-3EBF863AF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AEB0D-D158-EE40-8A18-ED68A560B4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F67C15-23BB-C34D-984B-365C6144B8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1264048-8683-B04A-BE92-365764B75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6920" y="296944"/>
            <a:ext cx="3898532" cy="61800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2F55B74-8AE2-2F4C-A8CC-7002F18140F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64E4DA-CF8C-5245-BEE4-F59B1938DEC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6C8F39-AC74-4106-A1AE-01B8F6D9634C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24052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094A0A-76A3-1B45-9EF1-EF4320A30CC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49407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3708F72-9177-1C4A-B014-F0C6B19AB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C3D2448-008D-704E-B888-D8E863B403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3EB1792-DD80-214E-9375-EE70AE1BB6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6F69B3-EAF8-AD4A-A506-57425CC3FBB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D4F06E-0767-9446-A975-422A8E49DA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B89775-FC9C-4A6C-8F15-A47A5CCABCA3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87772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392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15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533885-FB97-4BC6-993A-9DC5563047F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741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680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673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D8F54C-28C6-4C1F-8CCF-8FD1BA4FCC5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33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672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545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255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212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090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19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886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749602-2703-420C-8E06-C21DD3AB92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33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721066-D14F-4982-A518-C5F7B7B5C6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675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3FA28E-F3AC-4BE0-AD63-18713F8830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32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8D7AAF-0838-48A4-850C-B4235D457E6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19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35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679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633292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049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917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947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77526107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85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56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15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9116B4A-2E18-472F-8B47-80FB76C453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190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546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053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46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781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026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844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842643-0001-43A1-8A1D-935AC13EF9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61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273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75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755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646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921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892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95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000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2D6F3F-2B06-47D0-B011-DEE222649B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3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227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28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98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D914B-3AFE-47C3-BF0E-9F2857DB64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9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378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Dark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8AFEF0-CB40-4365-A775-D6F2BB16FA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"/>
          <a:stretch/>
        </p:blipFill>
        <p:spPr>
          <a:xfrm>
            <a:off x="0" y="693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EC1F21-AAC7-8A41-9558-DBE34F21E8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FB0E0BF-8F1B-C647-A3D3-2167637E4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3D750A-F4C0-194B-A4D8-5A5E6C4DEE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7" name="Picture 6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058CA6E-5F4B-F941-BD6B-E82D893B12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C5AB2C-D691-9849-BDBB-E7E6DFBD91CC}"/>
              </a:ext>
            </a:extLst>
          </p:cNvPr>
          <p:cNvSpPr txBox="1"/>
          <p:nvPr/>
        </p:nvSpPr>
        <p:spPr>
          <a:xfrm>
            <a:off x="9509533" y="6628807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1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B3BF8-5AE5-EB46-8B57-998DACED1EF0}"/>
              </a:ext>
            </a:extLst>
          </p:cNvPr>
          <p:cNvSpPr txBox="1"/>
          <p:nvPr/>
        </p:nvSpPr>
        <p:spPr>
          <a:xfrm>
            <a:off x="11583176" y="662880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1"/>
                </a:solidFill>
              </a:rPr>
              <a:pPr algn="r"/>
              <a:t>‹#›</a:t>
            </a:fld>
            <a:endParaRPr lang="en-US" sz="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45568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361576-7FCF-4513-B87A-06AAD90272A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936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380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7F5ACA36-7B90-4DAB-9853-21FD876EE1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591" y="282057"/>
            <a:ext cx="3260557" cy="182880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64E791DD-49B1-496A-A392-7FC776855F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6004" y="4725878"/>
            <a:ext cx="3260558" cy="1828800"/>
          </a:xfrm>
          <a:prstGeom prst="rect">
            <a:avLst/>
          </a:prstGeom>
        </p:spPr>
      </p:pic>
      <p:pic>
        <p:nvPicPr>
          <p:cNvPr id="12" name="Picture 11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51BF93FB-67CC-AB45-8F7F-896B8D199E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992" y="396682"/>
            <a:ext cx="3656002" cy="644005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489385-8E1D-F44F-AA67-025F1040A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05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8AF792-8FA8-490C-A12A-00B7F7C25E3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FFFC91-7B2C-4594-BBB8-5279D017364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55402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  <p15:guide id="13" pos="3840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4F9840-9E8F-43BB-876D-6619929D9C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13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F408AB-69B0-441A-9B12-C7BA941530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729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C9290-886E-4D7E-9009-0ACD4751EE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671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6E6A59-D2EF-466D-A88F-3B7C0E9FCD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6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01E167C1-AF1A-49C1-B2DA-711E50FCCA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669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270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6FC2312-8932-4742-9352-D9582897CC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70175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D7751A-3D2C-4958-8F3D-7FD3A46C3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3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2" imgH="378" progId="TCLayout.ActiveDocument.1">
                  <p:embed/>
                </p:oleObj>
              </mc:Choice>
              <mc:Fallback>
                <p:oleObj name="think-cell Slide" r:id="rId3" imgW="382" imgH="3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D7751A-3D2C-4958-8F3D-7FD3A46C3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2B55CED-442B-411B-B70F-3E692974BDC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D0776-1F23-4D62-9F8D-E0CA57957C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76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19189A-A764-4CE4-921D-ADE60F58015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6B1A94-9885-4083-B250-B2F8FCFE31F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05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611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D8F4C4-5704-49EA-A065-468B22A4611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267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4C3246-B392-4150-9B5C-C1BCC3CEDE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36818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160D80-66DD-46E8-A1A8-3B4B3B81CA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452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160D80-66DD-46E8-A1A8-3B4B3B81C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4A35BE-3B8F-4F3E-B795-82BFC49D77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err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7"/>
            <a:ext cx="7207250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3647834"/>
      </p:ext>
    </p:extLst>
  </p:cSld>
  <p:clrMapOvr>
    <a:masterClrMapping/>
  </p:clrMapOvr>
  <p:hf sldNum="0" hd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7C03D-C54D-40F9-AE6B-95171A261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4DB319-1DBD-4158-A53E-69B8D62FF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822C-F838-414C-BE88-4C36BDF8A5E0}" type="datetimeFigureOut">
              <a:rPr lang="en-US" smtClean="0"/>
              <a:t>8/1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DD8B8A-BE34-4A8E-84DB-6FB75CE4C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D4E8CF-5B8A-42F4-ADE9-A70238546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92218"/>
      </p:ext>
    </p:extLst>
  </p:cSld>
  <p:clrMapOvr>
    <a:masterClrMapping/>
  </p:clrMapOvr>
  <p:hf sldNum="0" hd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0"/>
            <a:ext cx="11293841" cy="4572000"/>
          </a:xfrm>
        </p:spPr>
        <p:txBody>
          <a:bodyPr wrap="square"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801688" marR="0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noProof="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227013" marR="0" lvl="1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227013" marR="0" lvl="2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27013" marR="0" lvl="3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3B34DA0-1F00-4816-88BC-EF46999D46D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885593155"/>
      </p:ext>
    </p:extLst>
  </p:cSld>
  <p:clrMapOvr>
    <a:masterClrMapping/>
  </p:clrMapOvr>
  <p:hf sldNum="0" hd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6BDB3E-4F1B-4982-8BF9-AA6B1F1569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99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6BDB3E-4F1B-4982-8BF9-AA6B1F156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336C443-77E6-4A75-B607-C9BA335CB0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9" y="6453308"/>
            <a:ext cx="1118512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  <a:latin typeface="Segoe UI "/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433588"/>
      </p:ext>
    </p:extLst>
  </p:cSld>
  <p:clrMapOvr>
    <a:masterClrMapping/>
  </p:clrMapOvr>
  <p:hf sldNum="0" hd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0902815"/>
      </p:ext>
    </p:extLst>
  </p:cSld>
  <p:clrMapOvr>
    <a:masterClrMapping/>
  </p:clrMapOvr>
  <p:hf sldNum="0" hdr="0" dt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3933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ED51B5-9107-44F8-8ED0-1DB5982AF2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854867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050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66E040-CDDF-4981-B492-7556061A71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3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843340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Illustrati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ABED557-8CCF-4E06-A4B0-138D63BEA5F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B2E44F33-678A-47EA-AC07-88FFA812975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90691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531B1FD9-0074-469F-8AE7-E606DAD866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929856F-DABF-471F-8B38-2526EC3ED5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C1AA3B56-2388-49CA-AD18-833EC83542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07386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7FD18B49-0479-4CF3-89E4-5BDC364D67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CB7C099-CC69-4D83-991F-6E38857EB5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FE6DB80F-96E5-44B2-B38D-57C87BFDD9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4926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ig Type - with Ic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DC265AB-EBB4-4A26-83CD-9770E18E9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7" name="Rectangle 82">
            <a:extLst>
              <a:ext uri="{FF2B5EF4-FFF2-40B4-BE49-F238E27FC236}">
                <a16:creationId xmlns:a16="http://schemas.microsoft.com/office/drawing/2014/main" id="{677ADEC4-2706-4062-A5A4-0408C76D9C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77232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ig Typ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E74BCA9-4EC7-4DCA-BB36-2BA3463C36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B0957394-30D0-4716-A027-B93A302A27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63472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D569423D-2F88-426D-B662-3E29CF5B8F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7E2C032-B12D-4BA9-A8E5-489BAD92E1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084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 userDrawn="1"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 userDrawn="1"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 userDrawn="1"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BEC567DB-456B-4C04-85C5-43BB83555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id="{6B9A56F8-EB09-4F40-91B6-8D1D2F55308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A738C1A-312C-4A5E-B567-CBA919874D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179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AF40C379-F42C-48E2-9BF6-F41A857ED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F4323786-EA2E-40B7-B647-9949EA1B9B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CA81A6E-0CF0-4338-B8B5-E72C667E63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239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FB0F-0E7B-49AB-95F9-0BE1492C27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A225AB9E-6270-411B-BA41-FE4DC155E9D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037035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2231C69-E75F-4165-9E55-45B24472FD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1" y="647446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485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2422CE-195E-4DA5-9984-0FE3619373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710D1EF4-44F9-49FB-BA15-FDE8DBFE38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047159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5E9EB26-B07A-4858-8583-AA49119DFAF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D9CB0298-1E33-4FE2-B7BD-6E00FE1A26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09557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1C7B16-958E-4EBE-AC41-B49A60AA54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2479FC45-EBBC-4782-87D2-86608560F9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17482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65242E3-D0EC-4498-BC2E-BA974FBDAA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7E607763-3821-420C-ACA3-5EC3B11F88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853167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8CE00D-241A-4667-ADFB-106FE417DD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0EA51A1-56A3-4324-9B20-1DC16E95347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2894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0A2C6-3416-414C-A125-983540B4A5B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E1592E0D-D96C-4EEC-864F-766BBA8B51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93415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FC571ED-58FB-4FE8-A7F4-3671854D65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BD336C-4C14-4603-9D44-C23F03FB9AB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5EF51455-186B-4653-A265-9D454538EF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09125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Text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6B6122-7868-471E-9927-60AD1625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28DEC49-3A24-4F15-BA2F-3FF11C8816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4E66CCDB-3D15-42FC-8F6F-2697B9D6A01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88082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C7A211-453E-4D0B-AEB3-1E2206B264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C50D10-4CF2-456D-9012-B0BDC5857F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E7DDB7CD-21A1-4A4A-9949-0FFCAC055B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717186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- Whit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ED1F4B8-24E0-4ED5-9093-8C027FEFB1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CDDE597F-BAEB-47E8-867F-ACD8DECD92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4C021FF-E312-4A2C-A51C-EF33A32760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048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619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C5491B-186C-45A5-B417-7EBC81686C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066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C5491B-186C-45A5-B417-7EBC81686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22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58486E-05AA-4AD1-B733-22E51EAF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709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58486E-05AA-4AD1-B733-22E51EAF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73FB1A2-EA14-4F6C-86F9-FD497A3034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9F5F2119-7601-40C9-87DF-B2193F30F8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FB63FD8-0758-4631-A48E-FC82B0F293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87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8D36F9-ABDD-4FE9-82E9-ABF2DC35E2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185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8D36F9-ABDD-4FE9-82E9-ABF2DC35E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03A7B655-B37E-46E5-802C-742A2A25DE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C247F9-3C5B-40D1-B172-8C1001C665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538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0DCF92-60F0-42CE-B73A-BD70FAD44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54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0DCF92-60F0-42CE-B73A-BD70FAD44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BBFFB18F-502B-4620-8EBB-ADDCDAFFE00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F3D92FE-9EF1-45FA-83AE-7DEE9BCD7F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489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14968E-4AF7-485A-AE0A-88D6A2313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278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14968E-4AF7-485A-AE0A-88D6A2313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C09B0FA0-282F-40CC-85DC-E4A28FCCAF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35C6D7B-9A5E-4D8D-80FF-834DC52D3D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791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CC2B79-C940-486C-9F3B-BF847107F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782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CC2B79-C940-486C-9F3B-BF847107F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75D86DC9-F6BA-4387-8C60-CB216A9D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CE84D87-A172-4A29-9AA7-2E671B4521D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021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193FF-ACEA-42CA-9D04-5917F77E8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45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193FF-ACEA-42CA-9D04-5917F77E8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FAAB2DA0-5560-4CFB-8BB1-FA929156A0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27207AFF-D65F-44BB-ABE6-E36B7498F3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C2FAEFA-FA42-4307-98E4-11FC0D3584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957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A687F-0862-4D03-916A-D0C45E91D4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167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AA687F-0862-4D03-916A-D0C45E91D4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 userDrawn="1"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 userDrawn="1"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1" name="Rectangle 82">
            <a:extLst>
              <a:ext uri="{FF2B5EF4-FFF2-40B4-BE49-F238E27FC236}">
                <a16:creationId xmlns:a16="http://schemas.microsoft.com/office/drawing/2014/main" id="{835D992A-2A2E-4BE9-ACFF-BD1B9DE11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A3102B0-7B34-461A-949A-FA77D39AA3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394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97C854-AA5D-4160-8753-FB537275E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55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97C854-AA5D-4160-8753-FB537275E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AFA99D6-3597-42EC-A393-B1F699E91E7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734ABA07-E849-4755-AEBA-D67411DD5F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FBB3CC5-958D-4B14-96F7-56A70D24D03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005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76EFEF-4B84-4297-84E3-6558A8A501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474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76EFEF-4B84-4297-84E3-6558A8A50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53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001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 userDrawn="1"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 userDrawn="1"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 userDrawn="1"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CBFF784-7328-4B09-A4E9-1CD6CA2DDD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95324C5E-7673-4E81-B854-F9B46F10DC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2C1E5FC-54B6-4B67-941B-EA36974656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535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1B26AD-209D-4949-99DC-0B6849456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85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1B26AD-209D-4949-99DC-0B6849456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85C19EA8-0E28-4F5B-8F1D-27DD33CE3D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0" name="Rectangle 82">
            <a:extLst>
              <a:ext uri="{FF2B5EF4-FFF2-40B4-BE49-F238E27FC236}">
                <a16:creationId xmlns:a16="http://schemas.microsoft.com/office/drawing/2014/main" id="{8865593A-D405-4DD1-826B-23DB658C4C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FD26917-46AC-48E4-A400-D514EE136D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051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D25F91-3CBC-4B9A-8B27-2E883B9A04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9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9D25F91-3CBC-4B9A-8B27-2E883B9A0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 userDrawn="1"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 userDrawn="1"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 userDrawn="1"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 userDrawn="1"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09356D0A-AA64-4DB5-96FB-8733B82897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0" name="Rectangle 82">
            <a:extLst>
              <a:ext uri="{FF2B5EF4-FFF2-40B4-BE49-F238E27FC236}">
                <a16:creationId xmlns:a16="http://schemas.microsoft.com/office/drawing/2014/main" id="{EA550C6F-2DC9-4D86-97C7-E888B0709B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28DF78A-ACD7-49E6-B3C8-4373BE61BC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054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7785C2-FFA0-49DC-B7DC-AE8D303A0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92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7785C2-FFA0-49DC-B7DC-AE8D303A0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 userDrawn="1"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D17E29F1-6D41-4628-913F-B22462B1C5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 userDrawn="1"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 userDrawn="1"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5" name="Rectangle 82">
            <a:extLst>
              <a:ext uri="{FF2B5EF4-FFF2-40B4-BE49-F238E27FC236}">
                <a16:creationId xmlns:a16="http://schemas.microsoft.com/office/drawing/2014/main" id="{DE2DD1E8-5330-413D-9F31-068931B3A2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FA43899-F5E8-4553-B9A7-947E54FF58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49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14404E-AF58-41A3-A587-83BECA816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170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14404E-AF58-41A3-A587-83BECA816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 userDrawn="1"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 userDrawn="1"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 userDrawn="1"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 userDrawn="1"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94D37605-9A74-406B-A28B-01434EC535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4" name="Rectangle 82">
            <a:extLst>
              <a:ext uri="{FF2B5EF4-FFF2-40B4-BE49-F238E27FC236}">
                <a16:creationId xmlns:a16="http://schemas.microsoft.com/office/drawing/2014/main" id="{61E28B04-8472-416E-B22B-550F0097ED1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2BC05130-19EA-4277-8EFF-8F83DF90F8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878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 userDrawn="1"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4FCB1-DF84-4814-9FFE-5E51FB4667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A9094A23-9529-40F6-8B6B-98D432DA91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AB3269-A147-4CA5-B240-4B9657711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428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 userDrawn="1"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Rectangle 82">
            <a:extLst>
              <a:ext uri="{FF2B5EF4-FFF2-40B4-BE49-F238E27FC236}">
                <a16:creationId xmlns:a16="http://schemas.microsoft.com/office/drawing/2014/main" id="{601852A1-73A4-4732-BEB2-AA892565DA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92AB0B1-437C-42D7-BD80-B4336B7DA4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589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501665-9204-470A-A37E-30BC35DEB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04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501665-9204-470A-A37E-30BC35DEB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2D5873B9-237F-4029-81C3-7DF4AE7E4F4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42A1717F-C6EA-400D-8E10-C6C4E7DCCBE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20B357F-CA40-448C-B1C7-B0455246EF6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98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93A4BC-37E6-4DD2-B7CD-FB49C008A1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229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93A4BC-37E6-4DD2-B7CD-FB49C008A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E7769BF2-3A16-429E-971C-E2ED4641AE3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AE31517B-3CE4-4A4E-97D5-9307E6C71A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8D9A30E-50F8-431F-BBD7-9157F79365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66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02D1C7-7C70-4B83-A59F-BDE593306E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264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02D1C7-7C70-4B83-A59F-BDE593306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89D5E7F-92DB-4D31-82AD-6D3677153D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CA8C260F-0CCF-45E2-AF57-3E583D3AE0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6E9724B-A7B5-4B2A-8B28-741A3F8BBF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00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506069-C394-449A-A381-EA5EB93F24B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83150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4C95FD-8A01-494E-B6F0-70FC67BF3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125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4C95FD-8A01-494E-B6F0-70FC67BF3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B25303E-21E4-4DA8-B538-6050CF5B75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B1B89650-1F66-4052-A9A9-67F248E2A3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1C233F7-CA56-43DD-BA29-A334B67DC0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028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BE030D-98F6-409F-8016-E2D167B30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858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BE030D-98F6-409F-8016-E2D167B30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D0C48DC-3206-40BC-A585-F0FD6F0BB7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AA8200B-94AD-4E3A-9452-3DA219FF8B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D9D5722-E9DB-4867-A638-593AAD071C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755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393D10-AE85-4AA5-A699-5D06948B11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923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393D10-AE85-4AA5-A699-5D06948B1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D023B447-C472-4FFB-8146-9C4B4AB0C6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AF411E5E-09DF-4E28-BE6E-3BC247AC4B8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E4D1E69-DB61-4528-810A-8CE6E03B78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4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DE325D-3E65-402D-95B0-C27620FA6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11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DE325D-3E65-402D-95B0-C27620FA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263181-B1D9-4115-9FC4-9CE6FD8E5B0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702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77F77B-AABD-4020-AB85-0E6BC29249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95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77F77B-AABD-4020-AB85-0E6BC2924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2D2F661-3E7F-4601-B99E-2135C7ADBC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C740D10-9B97-44BE-95CE-85CE3FC26E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CFDDEBB-1A5D-495C-9562-C31BD2590B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57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43F0EF-D94B-48CB-9513-2D68E40E0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82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43F0EF-D94B-48CB-9513-2D68E40E0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55A8E6FD-35F4-417D-9B41-7DE2887E7D7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4" name="Rectangle 82">
            <a:extLst>
              <a:ext uri="{FF2B5EF4-FFF2-40B4-BE49-F238E27FC236}">
                <a16:creationId xmlns:a16="http://schemas.microsoft.com/office/drawing/2014/main" id="{73567009-B66A-43BE-BD71-850B1B769B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E3CD348-086A-4EF0-99C7-DBD451CA3C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776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D3D11F-BAEB-44D3-8581-99EC0EDAB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655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D3D11F-BAEB-44D3-8581-99EC0EDAB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40A50952-A356-4EB0-8B8C-C588EE15A9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B4A4D5CF-C4C7-450C-9334-31DAE7973B5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BD5B6EC9-6C56-4B67-B97E-62C7608F72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613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F991D5-199B-426D-9571-F9BA920D30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7FB442-219B-44B4-AD5F-F32C15ED6B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5DEB0253-B61C-4C06-B8BF-8EE16408EB1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449732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Gray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7F45CD2-0507-4E64-B158-16FDC54238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5EEC0B24-129B-4EC5-975C-C51DF6D5D4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77B03D-52D0-44B7-A11D-C6D7C8F4D6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579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C7D283C-70D9-4F79-8CCF-D2CBB0F34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CA75BB9F-E74B-4526-972F-61B0B867B6A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E9B830-85A7-4002-B6FF-31E4D6C812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452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E00F683-FF21-46E3-A68D-2D9DDBCFCA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56A1C5-73D4-4CC9-BF77-E43ED523EEA9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170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5B4EFF-0041-084A-B0F9-54D99AB17B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C41F9E0-99DE-4EF6-BE3B-F2A540D376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BD655E7D-751C-49ED-A7A4-343B011DCE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6602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296CD9-FDC7-E14B-9F75-98F387A88D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AD0F4A-2811-4BB3-BD43-574EFBED6B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D097AEDD-6F7D-491E-9022-5367E211A5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00155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636A9D-BC65-4B42-A456-9F235FD32D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E94B9AF-D958-42B7-9E0F-43B000094F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4663C675-43E6-4D1C-ACEB-414C5A3B83A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870988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090D58-AEDB-42F6-B499-08E75F7E15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BB4048D-0888-4E8F-A04B-FB880F2766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2" name="Rectangle 82">
            <a:extLst>
              <a:ext uri="{FF2B5EF4-FFF2-40B4-BE49-F238E27FC236}">
                <a16:creationId xmlns:a16="http://schemas.microsoft.com/office/drawing/2014/main" id="{0E46A227-F641-47B1-9A58-5EEE3D8879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466945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37524D-5A5E-48A2-BEB4-E3CD8A10DC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287E25B-F496-48FB-A1F3-00BF981BCFB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2F443A-4766-448A-A9C1-4F04BB2A7F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600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E79ADCA6-5135-4529-BEBF-9555A7E463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55E5992C-6B07-4C78-96F0-0182579C061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E6F422-E210-43D8-AADA-2220E8CA49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743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320A0BB-A1CC-7340-BA3E-73149B252C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9529F147-079C-485E-8EB3-35E144D227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CC11AF5-2860-4542-A810-735AFA563F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48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4EFCDF-3A0F-A74C-8E18-D7C3D5D52F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6E295A5-5AF7-4927-9ACA-D07BFA3124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1B4EE23-3E7F-4607-8598-62877FA813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34766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 userDrawn="1"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 userDrawn="1"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 userDrawn="1"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FF082EAE-B6FC-4B36-9523-D2E76077D8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D20CDC-AF6E-4D4B-B7CE-63543EEAD8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951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23F1296-C6EE-48BC-A658-6FFA134CDA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7" name="Rectangle 82">
            <a:extLst>
              <a:ext uri="{FF2B5EF4-FFF2-40B4-BE49-F238E27FC236}">
                <a16:creationId xmlns:a16="http://schemas.microsoft.com/office/drawing/2014/main" id="{6C1945D4-C0C4-4AE0-AC47-E44CF829FD7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81492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4326FF3-6B6B-4143-B2F9-702DB76E31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9DE400A-9E6F-4EAE-BBA0-88655336BC5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641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1F225078-D262-47FA-B0A1-8B5542DC004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7296F1-C131-4225-AF9A-2EE33EEE34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654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B7629A-90F9-442C-A330-6364D538FC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36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B7629A-90F9-442C-A330-6364D538FC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BB0E5B-E71F-4DFB-B0A8-8288771CB6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60ACAD5-BE41-4375-8AF5-FE4014A387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339E6AB4-C07A-4E22-A99C-EF0933C498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08997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ick Win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27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295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ABED557-8CCF-4E06-A4B0-138D63BEA5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B2E44F33-678A-47EA-AC07-88FFA81297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58465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531B1FD9-0074-469F-8AE7-E606DAD866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929856F-DABF-471F-8B38-2526EC3ED5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C1AA3B56-2388-49CA-AD18-833EC8354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45197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7FD18B49-0479-4CF3-89E4-5BDC364D67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CB7C099-CC69-4D83-991F-6E38857EB5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FE6DB80F-96E5-44B2-B38D-57C87BFDD9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88040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DC265AB-EBB4-4A26-83CD-9770E18E9B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7" name="Rectangle 82">
            <a:extLst>
              <a:ext uri="{FF2B5EF4-FFF2-40B4-BE49-F238E27FC236}">
                <a16:creationId xmlns:a16="http://schemas.microsoft.com/office/drawing/2014/main" id="{677ADEC4-2706-4062-A5A4-0408C76D9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45010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E74BCA9-4EC7-4DCA-BB36-2BA3463C36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B0957394-30D0-4716-A027-B93A302A2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705685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D569423D-2F88-426D-B662-3E29CF5B8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7E2C032-B12D-4BA9-A8E5-489BAD92E1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81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BEC567DB-456B-4C04-85C5-43BB835552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id="{6B9A56F8-EB09-4F40-91B6-8D1D2F5530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A738C1A-312C-4A5E-B567-CBA919874D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120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3F65495-12A4-4284-86B6-8783B65338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FA63EF-612C-4DDE-BDB9-DD67DDE0B3DF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425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AF40C379-F42C-48E2-9BF6-F41A857ED5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F4323786-EA2E-40B7-B647-9949EA1B9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CA81A6E-0CF0-4338-B8B5-E72C667E6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980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FB0F-0E7B-49AB-95F9-0BE1492C27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A225AB9E-6270-411B-BA41-FE4DC155E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8499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2422CE-195E-4DA5-9984-0FE3619373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710D1EF4-44F9-49FB-BA15-FDE8DBFE38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8966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5E9EB26-B07A-4858-8583-AA49119DFA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D9CB0298-1E33-4FE2-B7BD-6E00FE1A2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884478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1C7B16-958E-4EBE-AC41-B49A60AA54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2479FC45-EBBC-4782-87D2-86608560F9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737460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65242E3-D0EC-4498-BC2E-BA974FBDAA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7E607763-3821-420C-ACA3-5EC3B11F8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2228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8CE00D-241A-4667-ADFB-106FE417DD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0EA51A1-56A3-4324-9B20-1DC16E953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884734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0A2C6-3416-414C-A125-983540B4A5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E1592E0D-D96C-4EEC-864F-766BBA8B5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6623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FC571ED-58FB-4FE8-A7F4-3671854D65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BD336C-4C14-4603-9D44-C23F03FB9A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5EF51455-186B-4653-A265-9D454538EF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061365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6B6122-7868-471E-9927-60AD1625462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28DEC49-3A24-4F15-BA2F-3FF11C8816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4E66CCDB-3D15-42FC-8F6F-2697B9D6A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8868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876AED2-1CFF-4BDE-9E1E-69CBC3EB0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15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848DAD-A1C5-BA4C-9B67-B4FD8714D28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7F36E9A5-B20B-9240-BE59-A48AFE097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173" y="1610833"/>
            <a:ext cx="5481827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856474F-DB99-E44D-BFE6-6C67698BAD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173" y="2647860"/>
            <a:ext cx="5481826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03B21D41-9026-49AE-9F0C-C3635D6835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560AEA-675B-0747-9C5B-DBF5C5D4574C}"/>
              </a:ext>
            </a:extLst>
          </p:cNvPr>
          <p:cNvSpPr txBox="1"/>
          <p:nvPr/>
        </p:nvSpPr>
        <p:spPr>
          <a:xfrm>
            <a:off x="9375969" y="6587711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5C2A6-77D3-EE48-B7DC-5AD197DBE1D7}"/>
              </a:ext>
            </a:extLst>
          </p:cNvPr>
          <p:cNvSpPr txBox="1"/>
          <p:nvPr/>
        </p:nvSpPr>
        <p:spPr>
          <a:xfrm>
            <a:off x="11449612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69181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758" y="6471697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350396" y="6577470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F5C9A73-A701-4C1A-8996-020E12C23E8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30269A-08C3-4518-B8B4-B1B1540EC7C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8171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C7A211-453E-4D0B-AEB3-1E2206B264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C50D10-4CF2-456D-9012-B0BDC5857F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E7DDB7CD-21A1-4A4A-9949-0FFCAC055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57291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ED1F4B8-24E0-4ED5-9093-8C027FEFB1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CDDE597F-BAEB-47E8-867F-ACD8DECD92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4C021FF-E312-4A2C-A51C-EF33A32760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04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A2B29E-2D28-4D18-9E99-053B37610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74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A2B29E-2D28-4D18-9E99-053B37610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E16C14-4943-413C-A577-91BEFC94A18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BAF6C7-94CD-446B-B7F3-8CDB7F2C5B6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03040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73FB1A2-EA14-4F6C-86F9-FD497A3034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9F5F2119-7601-40C9-87DF-B2193F30F8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FB63FD8-0758-4631-A48E-FC82B0F293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8A4BC33-47D5-4C17-A832-61539420601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7F825E-279A-42B9-8D5E-A6FCBD26310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937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03A7B655-B37E-46E5-802C-742A2A25D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C247F9-3C5B-40D1-B172-8C1001C665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7B5D24-BCF6-4AB5-86FA-E3145B77248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CE4FEC-A15F-4A20-979C-02856739CD5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765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BBFFB18F-502B-4620-8EBB-ADDCDAFFE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F3D92FE-9EF1-45FA-83AE-7DEE9BCD7F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5FA2F0B-B299-49AC-AD78-66659627AB2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8CDA6A-9332-408B-BC89-3CE760634B9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740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C09B0FA0-282F-40CC-85DC-E4A28FCCA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35C6D7B-9A5E-4D8D-80FF-834DC52D3D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08049A-1092-4F92-BD7B-6CFBFD7629D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562B25-DF6A-4760-93A9-F10381BC6BD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755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75D86DC9-F6BA-4387-8C60-CB216A9D6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CE84D87-A172-4A29-9AA7-2E671B452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D1E42B-CD23-4181-A5DE-AB72A5E37DF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1395-2BC2-4E3A-B70B-9F41020F36F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839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FAAB2DA0-5560-4CFB-8BB1-FA929156A0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27207AFF-D65F-44BB-ABE6-E36B7498F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C2FAEFA-FA42-4307-98E4-11FC0D358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87FA629-E087-47C0-98B0-3DCF01C58FFB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D8B735-8FA4-4DFA-B134-6BE015ED6AF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599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1" name="Rectangle 82">
            <a:extLst>
              <a:ext uri="{FF2B5EF4-FFF2-40B4-BE49-F238E27FC236}">
                <a16:creationId xmlns:a16="http://schemas.microsoft.com/office/drawing/2014/main" id="{835D992A-2A2E-4BE9-ACFF-BD1B9DE11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A3102B0-7B34-461A-949A-FA77D39AA3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361183-34DC-46CF-943B-5F499EBF817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AF8E6D-C109-4942-8344-2250EFAC07C2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130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32603E9-F896-455C-8C4D-C4428ACF0B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A344FD-161D-4A35-B33E-DA10CAC2E897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359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AFA99D6-3597-42EC-A393-B1F699E91E7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734ABA07-E849-4755-AEBA-D67411DD5F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FBB3CC5-958D-4B14-96F7-56A70D24D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CC3147-8DFD-4039-878B-DEEFE28006C7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EDD2D1-BFE0-4244-BFAF-3CB6D630AC5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04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03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CBFF784-7328-4B09-A4E9-1CD6CA2DDD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95324C5E-7673-4E81-B854-F9B46F10D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2C1E5FC-54B6-4B67-941B-EA3697465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573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85C19EA8-0E28-4F5B-8F1D-27DD33CE3D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0" name="Rectangle 82">
            <a:extLst>
              <a:ext uri="{FF2B5EF4-FFF2-40B4-BE49-F238E27FC236}">
                <a16:creationId xmlns:a16="http://schemas.microsoft.com/office/drawing/2014/main" id="{8865593A-D405-4DD1-826B-23DB658C4C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FD26917-46AC-48E4-A400-D514EE136D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43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09356D0A-AA64-4DB5-96FB-8733B82897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0" name="Rectangle 82">
            <a:extLst>
              <a:ext uri="{FF2B5EF4-FFF2-40B4-BE49-F238E27FC236}">
                <a16:creationId xmlns:a16="http://schemas.microsoft.com/office/drawing/2014/main" id="{EA550C6F-2DC9-4D86-97C7-E888B0709B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28DF78A-ACD7-49E6-B3C8-4373BE61B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20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D17E29F1-6D41-4628-913F-B22462B1C5B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5" name="Rectangle 82">
            <a:extLst>
              <a:ext uri="{FF2B5EF4-FFF2-40B4-BE49-F238E27FC236}">
                <a16:creationId xmlns:a16="http://schemas.microsoft.com/office/drawing/2014/main" id="{DE2DD1E8-5330-413D-9F31-068931B3A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FA43899-F5E8-4553-B9A7-947E54FF58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1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94D37605-9A74-406B-A28B-01434EC535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4" name="Rectangle 82">
            <a:extLst>
              <a:ext uri="{FF2B5EF4-FFF2-40B4-BE49-F238E27FC236}">
                <a16:creationId xmlns:a16="http://schemas.microsoft.com/office/drawing/2014/main" id="{61E28B04-8472-416E-B22B-550F0097ED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2BC05130-19EA-4277-8EFF-8F83DF90F8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3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4FCB1-DF84-4814-9FFE-5E51FB4667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A9094A23-9529-40F6-8B6B-98D432DA9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AB3269-A147-4CA5-B240-4B9657711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46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Rectangle 82">
            <a:extLst>
              <a:ext uri="{FF2B5EF4-FFF2-40B4-BE49-F238E27FC236}">
                <a16:creationId xmlns:a16="http://schemas.microsoft.com/office/drawing/2014/main" id="{601852A1-73A4-4732-BEB2-AA892565D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92AB0B1-437C-42D7-BD80-B4336B7DA4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497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2D5873B9-237F-4029-81C3-7DF4AE7E4F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42A1717F-C6EA-400D-8E10-C6C4E7DCC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20B357F-CA40-448C-B1C7-B0455246EF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760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F208A2F-1CE2-478F-9445-C3E1B5FE1E0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D6916B-7D24-4068-A978-ADD2B43C541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108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E7769BF2-3A16-429E-971C-E2ED4641AE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AE31517B-3CE4-4A4E-97D5-9307E6C71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8D9A30E-50F8-431F-BBD7-9157F79365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370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89D5E7F-92DB-4D31-82AD-6D3677153D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CA8C260F-0CCF-45E2-AF57-3E583D3AE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6E9724B-A7B5-4B2A-8B28-741A3F8BBF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592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B25303E-21E4-4DA8-B538-6050CF5B75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B1B89650-1F66-4052-A9A9-67F248E2A3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1C233F7-CA56-43DD-BA29-A334B67DC0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476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D0C48DC-3206-40BC-A585-F0FD6F0BB7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AA8200B-94AD-4E3A-9452-3DA219FF8B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D9D5722-E9DB-4867-A638-593AAD071C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63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D023B447-C472-4FFB-8146-9C4B4AB0C6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AF411E5E-09DF-4E28-BE6E-3BC247AC4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E4D1E69-DB61-4528-810A-8CE6E03B78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281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263181-B1D9-4115-9FC4-9CE6FD8E5B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724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2D2F661-3E7F-4601-B99E-2135C7ADBC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C740D10-9B97-44BE-95CE-85CE3FC26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CFDDEBB-1A5D-495C-9562-C31BD2590B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500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55A8E6FD-35F4-417D-9B41-7DE2887E7D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4" name="Rectangle 82">
            <a:extLst>
              <a:ext uri="{FF2B5EF4-FFF2-40B4-BE49-F238E27FC236}">
                <a16:creationId xmlns:a16="http://schemas.microsoft.com/office/drawing/2014/main" id="{73567009-B66A-43BE-BD71-850B1B769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E3CD348-086A-4EF0-99C7-DBD451CA3C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58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40A50952-A356-4EB0-8B8C-C588EE15A9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B4A4D5CF-C4C7-450C-9334-31DAE7973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BD5B6EC9-6C56-4B67-B97E-62C7608F72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32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F991D5-199B-426D-9571-F9BA920D30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7FB442-219B-44B4-AD5F-F32C15ED6B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5DEB0253-B61C-4C06-B8BF-8EE16408E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088108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6177C2-A046-4358-BC4A-F6CFABD1D9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7FB64C-A019-44C0-B2AD-58A535AA5A8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888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7F45CD2-0507-4E64-B158-16FDC54238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5EEC0B24-129B-4EC5-975C-C51DF6D5D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77B03D-52D0-44B7-A11D-C6D7C8F4D6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369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C7D283C-70D9-4F79-8CCF-D2CBB0F346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CA75BB9F-E74B-4526-972F-61B0B867B6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E9B830-85A7-4002-B6FF-31E4D6C812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199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5B4EFF-0041-084A-B0F9-54D99AB17B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C41F9E0-99DE-4EF6-BE3B-F2A540D376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BD655E7D-751C-49ED-A7A4-343B011DCE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37484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296CD9-FDC7-E14B-9F75-98F387A88D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AD0F4A-2811-4BB3-BD43-574EFBED6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D097AEDD-6F7D-491E-9022-5367E211A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688506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636A9D-BC65-4B42-A456-9F235FD32D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E94B9AF-D958-42B7-9E0F-43B000094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4663C675-43E6-4D1C-ACEB-414C5A3B8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115033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090D58-AEDB-42F6-B499-08E75F7E15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BB4048D-0888-4E8F-A04B-FB880F276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2" name="Rectangle 82">
            <a:extLst>
              <a:ext uri="{FF2B5EF4-FFF2-40B4-BE49-F238E27FC236}">
                <a16:creationId xmlns:a16="http://schemas.microsoft.com/office/drawing/2014/main" id="{0E46A227-F641-47B1-9A58-5EEE3D8879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918393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37524D-5A5E-48A2-BEB4-E3CD8A10DC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287E25B-F496-48FB-A1F3-00BF981B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2F443A-4766-448A-A9C1-4F04BB2A7F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355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E79ADCA6-5135-4529-BEBF-9555A7E463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55E5992C-6B07-4C78-96F0-0182579C0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E6F422-E210-43D8-AADA-2220E8CA49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269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320A0BB-A1CC-7340-BA3E-73149B252C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9529F147-079C-485E-8EB3-35E144D22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CC11AF5-2860-4542-A810-735AFA563F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070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4EFCDF-3A0F-A74C-8E18-D7C3D5D52F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6E295A5-5AF7-4927-9ACA-D07BFA312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1B4EE23-3E7F-4607-8598-62877FA81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276758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963A5A3-E04E-42F1-9AC5-0650306BD89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FF1710-D399-446D-A053-627815A24ED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800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FF082EAE-B6FC-4B36-9523-D2E76077D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D20CDC-AF6E-4D4B-B7CE-63543EEAD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271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23F1296-C6EE-48BC-A658-6FFA134CD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7" name="Rectangle 82">
            <a:extLst>
              <a:ext uri="{FF2B5EF4-FFF2-40B4-BE49-F238E27FC236}">
                <a16:creationId xmlns:a16="http://schemas.microsoft.com/office/drawing/2014/main" id="{6C1945D4-C0C4-4AE0-AC47-E44CF829FD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102998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1F225078-D262-47FA-B0A1-8B5542DC0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7296F1-C131-4225-AF9A-2EE33EEE34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409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BB0E5B-E71F-4DFB-B0A8-8288771CB6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60ACAD5-BE41-4375-8AF5-FE4014A387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339E6AB4-C07A-4E22-A99C-EF0933C498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099827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F2418A-7624-4476-BD66-7B5517BD4E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4B46F8-086A-4ACE-A115-0AA48E9F2A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FD57A-FB59-4B71-97CE-952C59AB6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016ED-3505-4B5A-A66B-1D2B4A2B8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46666A-DD1E-4144-ABFB-F1DBCE993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3358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49977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7542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396280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375326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595959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lang="en-US" spc="-5"/>
              <a:t>|  Visa Consulting and Analytics  |  Hudson River CCU   |   Consumer Debit Assessment Final Readout  |  Visa Confidential</a:t>
            </a:r>
            <a:endParaRPr spc="-5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ADADAD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0967947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1256264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57200" y="6309360"/>
            <a:ext cx="10058400" cy="96950"/>
          </a:xfrm>
        </p:spPr>
        <p:txBody>
          <a:bodyPr wrap="square" anchor="t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110051403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5321D6-F21A-44C9-934B-FAF62B13F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221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5321D6-F21A-44C9-934B-FAF62B13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5CA95B-F73A-4BC0-91AB-3F8BDF45DB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5649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265D31-1383-4666-ACD9-0A3DA2BDF8D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2F4E22-1B7B-4539-8AE8-6ACCDB6A134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737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5931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Segoe UI "/>
              <a:ea typeface="+mj-ea"/>
              <a:cs typeface="Segoe UI Light" panose="020B0502040204020203" pitchFamily="34" charset="0"/>
              <a:sym typeface="Segoe UI 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991" y="245827"/>
            <a:ext cx="11582400" cy="366254"/>
          </a:xfrm>
        </p:spPr>
        <p:txBody>
          <a:bodyPr>
            <a:noAutofit/>
          </a:bodyPr>
          <a:lstStyle>
            <a:lvl1pPr>
              <a:defRPr>
                <a:latin typeface="Segoe UI 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16301" y="1188721"/>
            <a:ext cx="11582400" cy="63786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6391564"/>
            <a:ext cx="11684000" cy="10972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04059913"/>
      </p:ext>
    </p:extLst>
  </p:cSld>
  <p:clrMapOvr>
    <a:masterClrMapping/>
  </p:clrMapOvr>
  <p:transition>
    <p:wipe dir="r"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92" y="1524001"/>
            <a:ext cx="11285049" cy="4572000"/>
          </a:xfrm>
        </p:spPr>
        <p:txBody>
          <a:bodyPr/>
          <a:lstStyle>
            <a:lvl1pPr marL="227008" marR="0" indent="-227008" algn="l" defTabSz="914377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486" marR="0" indent="-225420" algn="l" defTabSz="914377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685783" marR="0" indent="-171446" algn="l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 lang="en-US" sz="2200" b="1" kern="1200" noProof="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marL="227008" marR="0" lvl="0" indent="-227008" algn="l" defTabSz="914377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F48751A9-3281-492B-9E17-901210722C4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57200" y="6402172"/>
            <a:ext cx="7207251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377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566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754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5943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131" indent="0">
              <a:buNone/>
              <a:defRPr sz="2000" b="0">
                <a:solidFill>
                  <a:schemeClr val="accent3"/>
                </a:solidFill>
              </a:defRPr>
            </a:lvl7pPr>
            <a:lvl8pPr marL="3200320" indent="0">
              <a:buNone/>
              <a:defRPr sz="2000" b="0">
                <a:solidFill>
                  <a:schemeClr val="accent3"/>
                </a:solidFill>
              </a:defRPr>
            </a:lvl8pPr>
            <a:lvl9pPr marL="3657509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6C987731-65A9-4ED6-B2B5-77A4DB5D0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59284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89" y="1524000"/>
            <a:ext cx="11293841" cy="4572000"/>
          </a:xfrm>
        </p:spPr>
        <p:txBody>
          <a:bodyPr wrap="square"/>
          <a:lstStyle>
            <a:lvl1pPr marL="227013" marR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71500" marR="0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lvl2pPr>
            <a:lvl3pPr marL="801688" marR="0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 lang="en-US" sz="1800" kern="1200" noProof="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571500" marR="0" lvl="1" indent="-225425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200"/>
              </a:spcAft>
              <a:buClr>
                <a:srgbClr val="5C5C5C"/>
              </a:buClr>
              <a:buSzTx/>
              <a:buFont typeface="Calibri" panose="020F0502020204030204" pitchFamily="34" charset="0"/>
              <a:buChar char="─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801688" marR="0" lvl="2" indent="-17621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5C5C5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03EA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F7810EDF-A4C7-49A3-A75F-9BF5A43AA89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9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4264BDF-3199-4030-97AE-11E54CC5E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63B34DA0-1F00-4816-88BC-EF46999D46D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118912021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46BCC25-AC44-4BFA-A151-4070B551A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473" y="1585545"/>
            <a:ext cx="11267467" cy="13962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F48751A9-3281-492B-9E17-901210722C4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3" y="6415640"/>
            <a:ext cx="7207251" cy="80791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525" b="0">
                <a:solidFill>
                  <a:schemeClr val="bg2"/>
                </a:solidFill>
              </a:defRPr>
            </a:lvl1pPr>
            <a:lvl2pPr marL="342891" indent="0">
              <a:spcBef>
                <a:spcPts val="0"/>
              </a:spcBef>
              <a:spcAft>
                <a:spcPts val="0"/>
              </a:spcAft>
              <a:buNone/>
              <a:defRPr sz="1500" b="0"/>
            </a:lvl2pPr>
            <a:lvl3pPr marL="685783" indent="0">
              <a:spcBef>
                <a:spcPts val="0"/>
              </a:spcBef>
              <a:spcAft>
                <a:spcPts val="0"/>
              </a:spcAft>
              <a:buNone/>
              <a:defRPr sz="1500" b="0"/>
            </a:lvl3pPr>
            <a:lvl4pPr marL="1028674" indent="0">
              <a:spcBef>
                <a:spcPts val="0"/>
              </a:spcBef>
              <a:spcAft>
                <a:spcPts val="0"/>
              </a:spcAft>
              <a:buNone/>
              <a:defRPr sz="1500" b="0"/>
            </a:lvl4pPr>
            <a:lvl5pPr marL="1371566" indent="0">
              <a:spcBef>
                <a:spcPts val="0"/>
              </a:spcBef>
              <a:buNone/>
              <a:defRPr sz="1500" b="0">
                <a:solidFill>
                  <a:srgbClr val="5D5D5D"/>
                </a:solidFill>
              </a:defRPr>
            </a:lvl5pPr>
            <a:lvl6pPr marL="1714457" indent="0">
              <a:lnSpc>
                <a:spcPct val="90000"/>
              </a:lnSpc>
              <a:buNone/>
              <a:defRPr sz="1500" b="0">
                <a:solidFill>
                  <a:schemeClr val="accent3"/>
                </a:solidFill>
              </a:defRPr>
            </a:lvl6pPr>
            <a:lvl7pPr marL="2057349" indent="0">
              <a:buNone/>
              <a:defRPr sz="1500" b="0">
                <a:solidFill>
                  <a:schemeClr val="accent3"/>
                </a:solidFill>
              </a:defRPr>
            </a:lvl7pPr>
            <a:lvl8pPr marL="2400240" indent="0">
              <a:buNone/>
              <a:defRPr sz="1500" b="0">
                <a:solidFill>
                  <a:schemeClr val="accent3"/>
                </a:solidFill>
              </a:defRPr>
            </a:lvl8pPr>
            <a:lvl9pPr marL="2743131" indent="0">
              <a:buNone/>
              <a:defRPr sz="15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6C987731-65A9-4ED6-B2B5-77A4DB5D0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49462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800" y="2267713"/>
            <a:ext cx="11582400" cy="1377878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1609345"/>
            <a:ext cx="11582400" cy="2585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408660116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541019"/>
              </p:ext>
            </p:extLst>
          </p:nvPr>
        </p:nvGraphicFramePr>
        <p:xfrm>
          <a:off x="1767" y="1323"/>
          <a:ext cx="1764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7" y="1323"/>
                        <a:ext cx="1764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" y="6356356"/>
            <a:ext cx="377952" cy="365125"/>
          </a:xfrm>
        </p:spPr>
        <p:txBody>
          <a:bodyPr/>
          <a:lstStyle/>
          <a:p>
            <a:fld id="{C19C67A3-BED2-284C-B277-97C0CD92F6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B675D9A-CF44-47CB-ADE8-3F99BDF2F1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6" y="6198567"/>
            <a:ext cx="11704639" cy="110800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chemeClr val="bg2">
                    <a:lumMod val="75000"/>
                  </a:schemeClr>
                </a:solidFill>
              </a:defRPr>
            </a:lvl1pPr>
            <a:lvl2pPr marL="376718" indent="0">
              <a:buNone/>
              <a:defRPr sz="800"/>
            </a:lvl2pPr>
            <a:lvl3pPr marL="838091" indent="0">
              <a:buNone/>
              <a:defRPr sz="800"/>
            </a:lvl3pPr>
            <a:lvl4pPr marL="1219042" indent="0">
              <a:buNone/>
              <a:defRPr sz="800"/>
            </a:lvl4pPr>
            <a:lvl5pPr marL="1559187" indent="0">
              <a:buNone/>
              <a:defRPr sz="800"/>
            </a:lvl5pPr>
          </a:lstStyle>
          <a:p>
            <a:pPr lvl="0"/>
            <a:r>
              <a:rPr lang="en-US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83951681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631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AD6A328-4E88-4B77-AE73-4F9B33FC0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2676166"/>
            <a:ext cx="7151010" cy="762000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5A28D5-058F-403D-9072-70B5135543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0" r="33036" b="61972"/>
          <a:stretch/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49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B616A-908C-4B8E-B567-9EE6EBF80B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6689905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04800" y="243840"/>
            <a:ext cx="11582400" cy="3662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188720"/>
            <a:ext cx="11582400" cy="1947200"/>
          </a:xfrm>
        </p:spPr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304800" y="685801"/>
            <a:ext cx="11582400" cy="276999"/>
          </a:xfrm>
        </p:spPr>
        <p:txBody>
          <a:bodyPr/>
          <a:lstStyle>
            <a:lvl1pPr marL="0" indent="0" algn="l">
              <a:buNone/>
              <a:defRPr sz="2000" b="1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87382763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4D7031-015E-4F9B-9F48-B87B4A60BE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0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4D7031-015E-4F9B-9F48-B87B4A60B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7D68AE-D19E-4AB0-BDFB-26B24C3A69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0669590" cy="3810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000" b="0" dirty="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27013" lvl="0" indent="-227013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888" y="6132296"/>
            <a:ext cx="11185127" cy="107722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187570"/>
            <a:ext cx="10668002" cy="762000"/>
          </a:xfrm>
        </p:spPr>
        <p:txBody>
          <a:bodyPr/>
          <a:lstStyle>
            <a:lvl1pPr>
              <a:defRPr sz="28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65228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1BBF8E8-B113-4097-B3D5-600667DA2D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5F24CAE-D619-462F-B79C-4C9F404F0107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360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1">
            <a:extLst>
              <a:ext uri="{FF2B5EF4-FFF2-40B4-BE49-F238E27FC236}">
                <a16:creationId xmlns:a16="http://schemas.microsoft.com/office/drawing/2014/main" id="{28B88886-1612-4DE1-AB7E-F47B7AEA2A2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70"/>
            <a:ext cx="10669590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ubtitle 1">
            <a:extLst>
              <a:ext uri="{FF2B5EF4-FFF2-40B4-BE49-F238E27FC236}">
                <a16:creationId xmlns:a16="http://schemas.microsoft.com/office/drawing/2014/main" id="{BE7923E5-BFFA-4831-867D-4B7AFBFF212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34431" y="6407557"/>
            <a:ext cx="7574729" cy="96950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200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400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600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800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6000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200" indent="0">
              <a:buNone/>
              <a:defRPr sz="2000" b="0">
                <a:solidFill>
                  <a:schemeClr val="accent3"/>
                </a:solidFill>
              </a:defRPr>
            </a:lvl7pPr>
            <a:lvl8pPr marL="3200400" indent="0">
              <a:buNone/>
              <a:defRPr sz="2000" b="0">
                <a:solidFill>
                  <a:schemeClr val="accent3"/>
                </a:solidFill>
              </a:defRPr>
            </a:lvl8pPr>
            <a:lvl9pPr marL="3657600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F7D0FB-DDF1-46D5-918C-7A5C6A636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A4EFA72-5BDB-43AA-8AD4-4423CDDA0820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A716E9D-82B0-4CD1-B5AA-3AD928C8B567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B54DBE-C2A8-4028-AF57-47A7C5DE5A02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04449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ABED557-8CCF-4E06-A4B0-138D63BEA5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B2E44F33-678A-47EA-AC07-88FFA81297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901205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531B1FD9-0074-469F-8AE7-E606DAD866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929856F-DABF-471F-8B38-2526EC3ED5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C1AA3B56-2388-49CA-AD18-833EC8354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666484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­ - B2B imagery 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Picture 1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7FD18B49-0479-4CF3-89E4-5BDC364D67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CB7C099-CC69-4D83-991F-6E38857EB5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FE6DB80F-96E5-44B2-B38D-57C87BFDD9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39113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DC265AB-EBB4-4A26-83CD-9770E18E9B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7" name="Rectangle 82">
            <a:extLst>
              <a:ext uri="{FF2B5EF4-FFF2-40B4-BE49-F238E27FC236}">
                <a16:creationId xmlns:a16="http://schemas.microsoft.com/office/drawing/2014/main" id="{677ADEC4-2706-4062-A5A4-0408C76D9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185670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E74BCA9-4EC7-4DCA-BB36-2BA3463C36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B0957394-30D0-4716-A027-B93A302A2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655518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D569423D-2F88-426D-B662-3E29CF5B8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7E2C032-B12D-4BA9-A8E5-489BAD92E1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263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BEC567DB-456B-4C04-85C5-43BB835552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id="{6B9A56F8-EB09-4F40-91B6-8D1D2F5530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1A738C1A-312C-4A5E-B567-CBA919874D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188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AF40C379-F42C-48E2-9BF6-F41A857ED5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F4323786-EA2E-40B7-B647-9949EA1B9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CA81A6E-0CF0-4338-B8B5-E72C667E6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583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FB0F-0E7B-49AB-95F9-0BE1492C27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A225AB9E-6270-411B-BA41-FE4DC155E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84038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B5F5CD2-1C9A-43C0-8ABE-C50E297345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C44455-956A-4EFA-A987-9EF682509EA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64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2422CE-195E-4DA5-9984-0FE3619373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710D1EF4-44F9-49FB-BA15-FDE8DBFE38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23950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5E9EB26-B07A-4858-8583-AA49119DFA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D9CB0298-1E33-4FE2-B7BD-6E00FE1A2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24126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1C7B16-958E-4EBE-AC41-B49A60AA54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2479FC45-EBBC-4782-87D2-86608560F9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704313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65242E3-D0EC-4498-BC2E-BA974FBDAA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7E607763-3821-420C-ACA3-5EC3B11F8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895090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8CE00D-241A-4667-ADFB-106FE417DD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0EA51A1-56A3-4324-9B20-1DC16E953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443806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0A2C6-3416-414C-A125-983540B4A5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E1592E0D-D96C-4EEC-864F-766BBA8B5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25028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FC571ED-58FB-4FE8-A7F4-3671854D65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BD336C-4C14-4603-9D44-C23F03FB9A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5EF51455-186B-4653-A265-9D454538EF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74486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6B6122-7868-471E-9927-60AD1625462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28DEC49-3A24-4F15-BA2F-3FF11C8816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4E66CCDB-3D15-42FC-8F6F-2697B9D6A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503648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C7A211-453E-4D0B-AEB3-1E2206B264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C50D10-4CF2-456D-9012-B0BDC5857F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E7DDB7CD-21A1-4A4A-9949-0FFCAC055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424477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ED1F4B8-24E0-4ED5-9093-8C027FEFB1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CDDE597F-BAEB-47E8-867F-ACD8DECD92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4C021FF-E312-4A2C-A51C-EF33A32760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89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2253DE5-5F38-4CC4-840B-B9B7BA274D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E30E62-33C1-413C-872D-E8D9F0B479CF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85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01F9548-162A-4715-BBDE-BD262EE67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0F3AB-1D3B-49D8-9299-CC0116B50C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564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73FB1A2-EA14-4F6C-86F9-FD497A3034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9F5F2119-7601-40C9-87DF-B2193F30F8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FB63FD8-0758-4631-A48E-FC82B0F293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8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03A7B655-B37E-46E5-802C-742A2A25D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C247F9-3C5B-40D1-B172-8C1001C665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379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BBFFB18F-502B-4620-8EBB-ADDCDAFFE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F3D92FE-9EF1-45FA-83AE-7DEE9BCD7F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3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AFA770-D7F0-4D2B-A47E-E283C9FBB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C09B0FA0-282F-40CC-85DC-E4A28FCCA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35C6D7B-9A5E-4D8D-80FF-834DC52D3D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472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75D86DC9-F6BA-4387-8C60-CB216A9D6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CE84D87-A172-4A29-9AA7-2E671B452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091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FAAB2DA0-5560-4CFB-8BB1-FA929156A0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6863A02-5AA9-0045-86B9-CB65111A28F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5B523E-6B9A-3E4C-A8C8-39C38CC0B143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250640" y="1600200"/>
            <a:ext cx="5331759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48177B1-77DF-0E4E-A6DB-F73091734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CA431A8-80BE-3346-AEA4-3FE5EF0F87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D624208-192E-BD42-8C2C-D3FC7AB00F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911FF-6A58-4AC3-BA4B-74146AFF60A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889C50-093C-44CD-9F44-6167FE8E94F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27207AFF-D65F-44BB-ABE6-E36B7498F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C2FAEFA-FA42-4307-98E4-11FC0D358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115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643202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643202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567214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/>
        </p:nvCxnSpPr>
        <p:spPr>
          <a:xfrm>
            <a:off x="6248400" y="2521444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1" name="Rectangle 82">
            <a:extLst>
              <a:ext uri="{FF2B5EF4-FFF2-40B4-BE49-F238E27FC236}">
                <a16:creationId xmlns:a16="http://schemas.microsoft.com/office/drawing/2014/main" id="{835D992A-2A2E-4BE9-ACFF-BD1B9DE11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A3102B0-7B34-461A-949A-FA77D39AA3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2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1207722-B163-475D-B601-1EA08B6AAA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467100" y="1600200"/>
            <a:ext cx="81153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94B221-FC17-F343-84FB-9C6A7B7059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25146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AFA99D6-3597-42EC-A393-B1F699E91E7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57C6BA9-A888-C046-9D14-AD47E7120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6561AB5-5D81-0845-909C-25323AA17C5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E59CE0-76E6-D84F-9E45-E33A3094777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EE53B-2173-45C7-95D3-A8EF5A8655B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0520A-BC26-4AF2-B7EF-CC50B7B9D86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5" name="Rectangle 82">
            <a:extLst>
              <a:ext uri="{FF2B5EF4-FFF2-40B4-BE49-F238E27FC236}">
                <a16:creationId xmlns:a16="http://schemas.microsoft.com/office/drawing/2014/main" id="{734ABA07-E849-4755-AEBA-D67411DD5F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FBB3CC5-958D-4B14-96F7-56A70D24D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364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184">
          <p15:clr>
            <a:srgbClr val="FBAE40"/>
          </p15:clr>
        </p15:guide>
        <p15:guide id="9" pos="1968">
          <p15:clr>
            <a:srgbClr val="FBAE40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97E3760-1BB7-4A60-8487-48CE1416C62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38E0FE-FC45-D24E-BA98-E5CF5EA47103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DB9E50E-54A6-D849-A7F6-8093341C8184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E9EADE-B7E9-1548-BE93-F92FE33A9C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F424B3-9043-41D5-BB73-D95ECFBE8A5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0AC662-696C-417C-B404-73EAB33987A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ADC148-5BD2-42F1-84B6-8B779F650F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8C35B25-58B1-44D6-ACD5-8A9456D578CE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751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092CC5-4CE4-F14D-84E5-84942B23A7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339236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756ABC-9266-214C-9F7B-E75E6FFA4963}"/>
              </a:ext>
            </a:extLst>
          </p:cNvPr>
          <p:cNvCxnSpPr>
            <a:cxnSpLocks/>
          </p:cNvCxnSpPr>
          <p:nvPr/>
        </p:nvCxnSpPr>
        <p:spPr>
          <a:xfrm>
            <a:off x="609601" y="2521444"/>
            <a:ext cx="340730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9A161FA-C7FD-E645-A03F-D02DE0C8B2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9600" y="1567214"/>
            <a:ext cx="33528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FB75EC-FDA1-D748-BDFC-0A34683F849E}"/>
              </a:ext>
            </a:extLst>
          </p:cNvPr>
          <p:cNvCxnSpPr>
            <a:cxnSpLocks/>
          </p:cNvCxnSpPr>
          <p:nvPr/>
        </p:nvCxnSpPr>
        <p:spPr>
          <a:xfrm>
            <a:off x="4419600" y="2521444"/>
            <a:ext cx="33528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30E2CEF-CCAC-CA4D-933F-027385DC49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8800" y="1567214"/>
            <a:ext cx="34036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6A0D02F-EE42-5B4C-BE0F-181D414229C6}"/>
              </a:ext>
            </a:extLst>
          </p:cNvPr>
          <p:cNvCxnSpPr>
            <a:cxnSpLocks/>
          </p:cNvCxnSpPr>
          <p:nvPr/>
        </p:nvCxnSpPr>
        <p:spPr>
          <a:xfrm>
            <a:off x="8178800" y="2521444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6CBFF784-7328-4B09-A4E9-1CD6CA2DDD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976D561-61ED-9B4A-B630-6E037061A8DD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12104" y="2628900"/>
            <a:ext cx="33527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EE0402C-E2BF-DB44-AB66-828DA835BF0F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3310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B04388-6E13-7143-8DB6-9C4E843A0AB8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8184004" y="2628900"/>
            <a:ext cx="3403599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318BDE0-5FD0-8D41-B77E-3DF3B75DE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D12C16-1BB5-BC4F-B6F8-46FB22666D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ADFB7F-C7B5-A141-A05E-65D8E762C3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F590C6-4DDD-48C4-A0F5-A86A02C9241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06489D-F18B-49E7-A430-AF0A802226B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95324C5E-7673-4E81-B854-F9B46F10D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2C1E5FC-54B6-4B67-941B-EA3697465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8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1656">
          <p15:clr>
            <a:srgbClr val="FBAE4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13DA727-D0B5-5748-84C2-5C350C1088DF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1600200"/>
            <a:ext cx="248920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85C19EA8-0E28-4F5B-8F1D-27DD33CE3D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A5DA42-0A63-7149-B091-08D10F848F2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1600200"/>
            <a:ext cx="2432423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CB33F5F-6A95-C141-A4CB-F1354D41AD3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CF80BC6-09DE-3740-8861-1869483A0ECD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1600200"/>
            <a:ext cx="2480235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41518C0-F58C-DA41-8B70-42DC6B9B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3602B9-7F9B-AE4E-9BAF-34FC72E3CBF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5869B9-14BA-E94B-BFB4-EEEE6C185E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B37F05-0F07-4AC7-AB0A-840C29CFAD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8EB945-89E4-4F5C-AABF-2F9F526C155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0" name="Rectangle 82">
            <a:extLst>
              <a:ext uri="{FF2B5EF4-FFF2-40B4-BE49-F238E27FC236}">
                <a16:creationId xmlns:a16="http://schemas.microsoft.com/office/drawing/2014/main" id="{8865593A-D405-4DD1-826B-23DB658C4C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FD26917-46AC-48E4-A400-D514EE136D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238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0B93C1-A913-6949-9E7A-C612BA63F6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6616FA-1027-5A4A-AC2C-E2DC86D90196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5070E2-249F-2E41-8903-2C611249DB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B18407-6858-9A4B-92C4-92013BAEACC6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618BCB-5657-E640-B496-300C09D2BD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3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2571815-7AC9-4A48-8176-16337A1C25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A6EDF-309F-9C43-88A2-C720D2079C09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A98B5-2885-FC4B-8E93-11E6853D6063}"/>
              </a:ext>
            </a:extLst>
          </p:cNvPr>
          <p:cNvCxnSpPr>
            <a:cxnSpLocks/>
          </p:cNvCxnSpPr>
          <p:nvPr/>
        </p:nvCxnSpPr>
        <p:spPr>
          <a:xfrm>
            <a:off x="6248403" y="2521444"/>
            <a:ext cx="2489197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09356D0A-AA64-4DB5-96FB-8733B82897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1631775-8D64-4341-A917-ACCA02A442D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2628900"/>
            <a:ext cx="2489200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E99E6E9-2494-B940-B1EF-092C3EADC772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2628900"/>
            <a:ext cx="2432423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19DCF24-1964-3644-9168-FF49E2A566D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F5FC023-DCB7-9848-9776-BCD9A603067E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9087971" y="2628900"/>
            <a:ext cx="2480235" cy="35813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8EC50DE8-D067-984E-9012-11FC27E62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7D501EE-A03D-D64F-A115-5ECD03AA3F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D59275F-6240-2347-801C-D9B63A2348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F193E4-ADC4-4233-AEA9-ABE6800A232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A837DC-6429-46C6-A734-03312F3E3B0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0" name="Rectangle 82">
            <a:extLst>
              <a:ext uri="{FF2B5EF4-FFF2-40B4-BE49-F238E27FC236}">
                <a16:creationId xmlns:a16="http://schemas.microsoft.com/office/drawing/2014/main" id="{EA550C6F-2DC9-4D86-97C7-E888B0709B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28DF78A-ACD7-49E6-B3C8-4373BE61B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223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D17E29F1-6D41-4628-913F-B22462B1C5B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BE0D9F-95D1-4003-A390-8D48D1D3680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D9C543-41B1-4AA5-9309-C44DBC35EA1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5" name="Rectangle 82">
            <a:extLst>
              <a:ext uri="{FF2B5EF4-FFF2-40B4-BE49-F238E27FC236}">
                <a16:creationId xmlns:a16="http://schemas.microsoft.com/office/drawing/2014/main" id="{DE2DD1E8-5330-413D-9F31-068931B3A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FA43899-F5E8-4553-B9A7-947E54FF58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286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9BE8A8-1D24-0141-85A7-333554C30119}"/>
              </a:ext>
            </a:extLst>
          </p:cNvPr>
          <p:cNvCxnSpPr>
            <a:cxnSpLocks/>
          </p:cNvCxnSpPr>
          <p:nvPr/>
        </p:nvCxnSpPr>
        <p:spPr>
          <a:xfrm>
            <a:off x="609600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A0458D0-DECB-7844-94C6-EFB2F9402D5A}"/>
              </a:ext>
            </a:extLst>
          </p:cNvPr>
          <p:cNvCxnSpPr>
            <a:cxnSpLocks/>
          </p:cNvCxnSpPr>
          <p:nvPr/>
        </p:nvCxnSpPr>
        <p:spPr>
          <a:xfrm>
            <a:off x="3453977" y="3242438"/>
            <a:ext cx="244368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48E85A-F259-CF49-BE34-708227EC6828}"/>
              </a:ext>
            </a:extLst>
          </p:cNvPr>
          <p:cNvCxnSpPr>
            <a:cxnSpLocks/>
          </p:cNvCxnSpPr>
          <p:nvPr/>
        </p:nvCxnSpPr>
        <p:spPr>
          <a:xfrm>
            <a:off x="6257308" y="3242438"/>
            <a:ext cx="2489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8AC0041-3EAA-134B-978F-4B02C0FF045F}"/>
              </a:ext>
            </a:extLst>
          </p:cNvPr>
          <p:cNvCxnSpPr>
            <a:cxnSpLocks/>
          </p:cNvCxnSpPr>
          <p:nvPr/>
        </p:nvCxnSpPr>
        <p:spPr>
          <a:xfrm>
            <a:off x="9097177" y="3242438"/>
            <a:ext cx="248920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94D37605-9A74-406B-A28B-01434EC535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390D2F0-3AD5-4F47-A10B-E047B365B1A9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609600" y="3391762"/>
            <a:ext cx="2489200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399C588-DBAD-2742-B89F-D479F30059DC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460377" y="3391762"/>
            <a:ext cx="2432423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CB9B4B18-23D4-6E42-8831-4A20A413C64A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257365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B833A7B-9585-DC41-B130-684A63887C7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9087971" y="3391762"/>
            <a:ext cx="2480235" cy="2624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CAA2DFC-CB9D-694C-955F-30EA6BD3C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E065487-BF64-9342-A721-6A8BA2B8CF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0303739-0C13-CC4B-8202-FEEEAAB3C12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244600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BC6978E9-423F-9244-9FF8-DCD46EBA565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07379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48D3479E-1D17-DF4D-840E-0E14AA554B7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02984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5A82027-A669-A245-99A2-2D77B7D1A9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32177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DE5F9E-3746-BC42-92AB-FEDCED42D71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EAD3E0-81AC-41A7-B02C-F7C8E3C276C5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4CA7DE8-127A-4C0C-867D-2DAABF999D8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4" name="Rectangle 82">
            <a:extLst>
              <a:ext uri="{FF2B5EF4-FFF2-40B4-BE49-F238E27FC236}">
                <a16:creationId xmlns:a16="http://schemas.microsoft.com/office/drawing/2014/main" id="{61E28B04-8472-416E-B22B-550F0097ED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2BC05130-19EA-4277-8EFF-8F83DF90F8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5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04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4FCB1-DF84-4814-9FFE-5E51FB4667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A9094A23-9529-40F6-8B6B-98D432DA9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8AB3269-A147-4CA5-B240-4B9657711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42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455917-5D69-4B31-B459-CEA3616D55C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C4B767-72FE-4F41-A667-B94ACBB19DB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Rectangle 82">
            <a:extLst>
              <a:ext uri="{FF2B5EF4-FFF2-40B4-BE49-F238E27FC236}">
                <a16:creationId xmlns:a16="http://schemas.microsoft.com/office/drawing/2014/main" id="{601852A1-73A4-4732-BEB2-AA892565D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92AB0B1-437C-42D7-BD80-B4336B7DA4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4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2D5873B9-237F-4029-81C3-7DF4AE7E4F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396B81-A8CC-6A49-B843-D30A7CDAE7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39E18C-9244-4F8E-8874-0A704B4D19F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48614B-99AB-4109-AE47-2860B4C761C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42A1717F-C6EA-400D-8E10-C6C4E7DCC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20B357F-CA40-448C-B1C7-B0455246EF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04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E7769BF2-3A16-429E-971C-E2ED4641AE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2626E75-A294-2F49-9D2A-F258BBC50F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C109CE-3B47-410F-91BB-711F45926B4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5D53B0-AEE2-473F-B917-B8042CA583E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:a16="http://schemas.microsoft.com/office/drawing/2014/main" id="{AE31517B-3CE4-4A4E-97D5-9307E6C71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8D9A30E-50F8-431F-BBD7-9157F79365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633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89D5E7F-92DB-4D31-82AD-6D3677153D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01442EF-174F-7C4C-948C-81FD2937D9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60610A-3A2F-41F6-A572-17E0B5918ED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1B5DF1-398E-4039-9FEB-B800C1345BA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CA8C260F-0CCF-45E2-AF57-3E583D3AE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6E9724B-A7B5-4B2A-8B28-741A3F8BBF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041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Animated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0FA535-D4AF-42CF-9E01-4C837F26F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4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2" imgH="378" progId="TCLayout.ActiveDocument.1">
                  <p:embed/>
                </p:oleObj>
              </mc:Choice>
              <mc:Fallback>
                <p:oleObj name="think-cell Slide" r:id="rId5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0FA535-D4AF-42CF-9E01-4C837F26F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A6D42A5-3782-4C2C-9F77-15CD87FBF908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ver animation" descr="Cover animation">
            <a:extLst>
              <a:ext uri="{FF2B5EF4-FFF2-40B4-BE49-F238E27FC236}">
                <a16:creationId xmlns:a16="http://schemas.microsoft.com/office/drawing/2014/main" id="{7FC1DE2B-DAD6-47AB-9CB9-E8506337D6A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522783" y="0"/>
            <a:ext cx="5669217" cy="682391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F72CCA6-9EE3-C247-B43B-2AA3A4865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92D8FE-1B47-1448-BFAB-BD805161A9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9F79052-C88A-1048-8CED-1033FB84B14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8" name="Picture 7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D388E55-55D7-5C40-ADE9-5CEA3FE422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99D746-2464-FD49-84E3-654E4F57AC0E}"/>
              </a:ext>
            </a:extLst>
          </p:cNvPr>
          <p:cNvSpPr txBox="1"/>
          <p:nvPr/>
        </p:nvSpPr>
        <p:spPr>
          <a:xfrm>
            <a:off x="9488985" y="6597985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86940F-7C28-224B-98AB-1812886ABDCC}"/>
              </a:ext>
            </a:extLst>
          </p:cNvPr>
          <p:cNvSpPr txBox="1"/>
          <p:nvPr/>
        </p:nvSpPr>
        <p:spPr>
          <a:xfrm>
            <a:off x="11562628" y="659798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74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2D46C0-E581-4328-BA0D-DC338A15645F}"/>
              </a:ext>
            </a:extLst>
          </p:cNvPr>
          <p:cNvSpPr/>
          <p:nvPr/>
        </p:nvSpPr>
        <p:spPr>
          <a:xfrm>
            <a:off x="-1" y="0"/>
            <a:ext cx="755620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1B887E-1D14-B443-ACD5-1A404FA009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842643-0001-43A1-8A1D-935AC13EF9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537" y="6474140"/>
            <a:ext cx="552780" cy="1791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BFFAD7E-5332-4140-A25A-4C1D314E207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61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7B25303E-21E4-4DA8-B538-6050CF5B75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62937F0-7412-EA41-B511-EA81EB0FE8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CFCE6-4389-4631-971B-C5551A0173C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961A7C-FF07-4129-BD07-6DC2F260A1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B1B89650-1F66-4052-A9A9-67F248E2A3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1C233F7-CA56-43DD-BA29-A334B67DC0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569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D0C48DC-3206-40BC-A585-F0FD6F0BB7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2BCFDB-7549-A74E-9341-258E6AB17A0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2A106-4F39-4E97-BFB5-DFFCCB4056E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40BDDF-AEFD-4BE1-9247-7302A27E82D6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AA8200B-94AD-4E3A-9452-3DA219FF8B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D9D5722-E9DB-4867-A638-593AAD071C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159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D023B447-C472-4FFB-8146-9C4B4AB0C6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3B1F5-C5F5-B945-9146-E3FE66ADCC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2CA8F6-DF4D-4772-AB33-EC493EEF4B9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988813-B187-455D-85DF-CBB5882CF1A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AF411E5E-09DF-4E28-BE6E-3BC247AC4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E4D1E69-DB61-4528-810A-8CE6E03B78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8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263181-B1D9-4115-9FC4-9CE6FD8E5B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BB4FD-6BC9-4C9C-8922-DD575DD56B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A549D4-3018-4CAF-B7B1-806723A2E4F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72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2D2F661-3E7F-4601-B99E-2135C7ADBC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6FCD28A-7F94-9C4F-A31C-BF10931252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437C85-71C1-4965-98AA-AB322A645B0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4069C1-CB70-47E8-BE89-934AD89EEC3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0C740D10-9B97-44BE-95CE-85CE3FC26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CFDDEBB-1A5D-495C-9562-C31BD2590B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54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55A8E6FD-35F4-417D-9B41-7DE2887E7D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AAE6A4A-48A8-1C40-A6AE-398355A53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AA50A3-83EF-4952-8632-FFE353522B4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1BB5-F73D-4D3A-9933-F159EB15525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4" name="Rectangle 82">
            <a:extLst>
              <a:ext uri="{FF2B5EF4-FFF2-40B4-BE49-F238E27FC236}">
                <a16:creationId xmlns:a16="http://schemas.microsoft.com/office/drawing/2014/main" id="{73567009-B66A-43BE-BD71-850B1B769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E3CD348-086A-4EF0-99C7-DBD451CA3C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272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40A50952-A356-4EB0-8B8C-C588EE15A9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3A338C-009A-CB4B-BC74-339517B20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71106C-2D60-4B3B-9163-BD2E616B86A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CD4302-0E8F-4769-AB5B-7BD122BAF5D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9" name="Rectangle 82">
            <a:extLst>
              <a:ext uri="{FF2B5EF4-FFF2-40B4-BE49-F238E27FC236}">
                <a16:creationId xmlns:a16="http://schemas.microsoft.com/office/drawing/2014/main" id="{B4A4D5CF-C4C7-450C-9334-31DAE7973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BD5B6EC9-6C56-4B67-B97E-62C7608F72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57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F991D5-199B-426D-9571-F9BA920D30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83C91-857A-4B26-8D8A-56951DA295A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7981E2-A37D-44F7-9BC3-BADD5267227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7FB442-219B-44B4-AD5F-F32C15ED6B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5DEB0253-B61C-4C06-B8BF-8EE16408E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551740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7F45CD2-0507-4E64-B158-16FDC54238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3A58EC-AF56-4ACE-99F7-40FDEFE6CA3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FF630E-A1BB-4624-BDA0-23B817EB760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8" name="Rectangle 82">
            <a:extLst>
              <a:ext uri="{FF2B5EF4-FFF2-40B4-BE49-F238E27FC236}">
                <a16:creationId xmlns:a16="http://schemas.microsoft.com/office/drawing/2014/main" id="{5EEC0B24-129B-4EC5-975C-C51DF6D5D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77B03D-52D0-44B7-A11D-C6D7C8F4D6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41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C7D283C-70D9-4F79-8CCF-D2CBB0F346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C7BAB9-5828-4672-9095-605C815C6DA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4915C-8206-4E74-A63E-C99114665ED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2">
            <a:extLst>
              <a:ext uri="{FF2B5EF4-FFF2-40B4-BE49-F238E27FC236}">
                <a16:creationId xmlns:a16="http://schemas.microsoft.com/office/drawing/2014/main" id="{CA75BB9F-E74B-4526-972F-61B0B867B6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E9B830-85A7-4002-B6FF-31E4D6C812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044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ellow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7E9115E-63DF-4133-A626-4F14A7DBBDDE}"/>
              </a:ext>
            </a:extLst>
          </p:cNvPr>
          <p:cNvSpPr/>
          <p:nvPr/>
        </p:nvSpPr>
        <p:spPr>
          <a:xfrm>
            <a:off x="0" y="0"/>
            <a:ext cx="18172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634F3A4-2E2A-344D-B907-C0C95A55CA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35702" y="639250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FB4FCC-3325-C845-9B15-E71FF67E5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75" y="6480100"/>
            <a:ext cx="552780" cy="17910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F450C2-6363-4814-A024-A7534AF61432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26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5B4EFF-0041-084A-B0F9-54D99AB17B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C41F9E0-99DE-4EF6-BE3B-F2A540D376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3" name="Rectangle 82">
            <a:extLst>
              <a:ext uri="{FF2B5EF4-FFF2-40B4-BE49-F238E27FC236}">
                <a16:creationId xmlns:a16="http://schemas.microsoft.com/office/drawing/2014/main" id="{BD655E7D-751C-49ED-A7A4-343B011DCE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83222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296CD9-FDC7-E14B-9F75-98F387A88D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7AD0F4A-2811-4BB3-BD43-574EFBED6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D097AEDD-6F7D-491E-9022-5367E211A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936333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636A9D-BC65-4B42-A456-9F235FD32D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B624A7-6C4C-4B8C-B311-91708EF3AD8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7C293-4151-4F45-BEFC-FBBBEE255F6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E94B9AF-D958-42B7-9E0F-43B000094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0" name="Rectangle 82">
            <a:extLst>
              <a:ext uri="{FF2B5EF4-FFF2-40B4-BE49-F238E27FC236}">
                <a16:creationId xmlns:a16="http://schemas.microsoft.com/office/drawing/2014/main" id="{4663C675-43E6-4D1C-ACEB-414C5A3B8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788046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090D58-AEDB-42F6-B499-08E75F7E15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516909-E1B2-444A-B3A8-7FCD52854F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AB5A1-60F2-4271-9FAC-E31461C114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BB4048D-0888-4E8F-A04B-FB880F276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2" name="Rectangle 82">
            <a:extLst>
              <a:ext uri="{FF2B5EF4-FFF2-40B4-BE49-F238E27FC236}">
                <a16:creationId xmlns:a16="http://schemas.microsoft.com/office/drawing/2014/main" id="{0E46A227-F641-47B1-9A58-5EEE3D8879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542486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37524D-5A5E-48A2-BEB4-E3CD8A10DC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82">
            <a:extLst>
              <a:ext uri="{FF2B5EF4-FFF2-40B4-BE49-F238E27FC236}">
                <a16:creationId xmlns:a16="http://schemas.microsoft.com/office/drawing/2014/main" id="{7287E25B-F496-48FB-A1F3-00BF981B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2F443A-4766-448A-A9C1-4F04BB2A7F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135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E79ADCA6-5135-4529-BEBF-9555A7E463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2706E-392F-4651-A72C-C804CD1AD8B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0567C7-587B-4D80-9DC9-AE3BEC155F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Rectangle 82">
            <a:extLst>
              <a:ext uri="{FF2B5EF4-FFF2-40B4-BE49-F238E27FC236}">
                <a16:creationId xmlns:a16="http://schemas.microsoft.com/office/drawing/2014/main" id="{55E5992C-6B07-4C78-96F0-0182579C0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8E6F422-E210-43D8-AADA-2220E8CA49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150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B3F41F-14AC-40D6-B66D-AAEADBE849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320A0BB-A1CC-7340-BA3E-73149B252C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9" name="Rectangle 82">
            <a:extLst>
              <a:ext uri="{FF2B5EF4-FFF2-40B4-BE49-F238E27FC236}">
                <a16:creationId xmlns:a16="http://schemas.microsoft.com/office/drawing/2014/main" id="{9529F147-079C-485E-8EB3-35E144D22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CC11AF5-2860-4542-A810-735AFA563F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627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770A6F-4F30-4069-B2E6-125B028194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12FA1-C9F4-4FC5-8840-41326195738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4EFCDF-3A0F-A74C-8E18-D7C3D5D52F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6E295A5-5AF7-4927-9ACA-D07BFA312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1" name="Rectangle 82">
            <a:extLst>
              <a:ext uri="{FF2B5EF4-FFF2-40B4-BE49-F238E27FC236}">
                <a16:creationId xmlns:a16="http://schemas.microsoft.com/office/drawing/2014/main" id="{C1B4EE23-3E7F-4607-8598-62877FA81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2057324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2438FC-1EF6-4544-9CC6-2A755FA71C2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E8F3-335C-4384-B1FF-B8461A4CD16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6" name="Rectangle 82">
            <a:extLst>
              <a:ext uri="{FF2B5EF4-FFF2-40B4-BE49-F238E27FC236}">
                <a16:creationId xmlns:a16="http://schemas.microsoft.com/office/drawing/2014/main" id="{FF082EAE-B6FC-4B36-9523-D2E76077D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D20CDC-AF6E-4D4B-B7CE-63543EEAD8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47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2A93CE-8ECC-45F5-AEF3-66B86A0588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4ADE85-FE04-4C1D-A0E3-C416257E524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23F1296-C6EE-48BC-A658-6FFA134CD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7" name="Rectangle 82">
            <a:extLst>
              <a:ext uri="{FF2B5EF4-FFF2-40B4-BE49-F238E27FC236}">
                <a16:creationId xmlns:a16="http://schemas.microsoft.com/office/drawing/2014/main" id="{6C1945D4-C0C4-4AE0-AC47-E44CF829FD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25850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457200"/>
            <a:ext cx="5334000" cy="5753100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A3EE50D-9DEA-9149-9049-FE0CE78B8409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7D2AF-B968-8540-AB96-D7091A82A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6C401AA-42D6-3744-80D1-D2B7F64C7D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EA35D1E-0E4D-41D1-B3C9-24F69D3E0F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7C0976-1302-44F0-A85F-0BB135AF80CD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549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FA0D9A1-9E83-48FE-BA25-BF5B3FC5241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CFD8C-17D1-4CF1-8DC5-0B8EBD70374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6" name="Rectangle 82">
            <a:extLst>
              <a:ext uri="{FF2B5EF4-FFF2-40B4-BE49-F238E27FC236}">
                <a16:creationId xmlns:a16="http://schemas.microsoft.com/office/drawing/2014/main" id="{1F225078-D262-47FA-B0A1-8B5542DC0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7296F1-C131-4225-AF9A-2EE33EEE34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852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BB0E5B-E71F-4DFB-B0A8-8288771CB6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956CE09-72E4-4F2E-BB26-6A8A49D6757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60ACAD5-BE41-4375-8AF5-FE4014A387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84283" y="61557"/>
            <a:ext cx="316047" cy="316047"/>
          </a:xfrm>
          <a:prstGeom prst="rect">
            <a:avLst/>
          </a:prstGeom>
        </p:spPr>
      </p:pic>
      <p:sp>
        <p:nvSpPr>
          <p:cNvPr id="14" name="Rectangle 82">
            <a:extLst>
              <a:ext uri="{FF2B5EF4-FFF2-40B4-BE49-F238E27FC236}">
                <a16:creationId xmlns:a16="http://schemas.microsoft.com/office/drawing/2014/main" id="{339E6AB4-C07A-4E22-A99C-EF0933C498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bg1"/>
                </a:solidFill>
                <a:latin typeface="Visa Dialect Semibold" pitchFamily="2" charset="77"/>
              </a:rPr>
              <a:t>Visa Consulting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3802620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F9602-2B41-46BA-9D8D-C665678DA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B4EB79-848F-4CD8-8C6C-DFC6945829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5BB1F-B34B-44A8-A1E1-A270EA99B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AFCCB-C1F4-4FB5-9416-901D6905A24E}" type="datetimeFigureOut">
              <a:rPr lang="en-US" smtClean="0"/>
              <a:t>8/1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BAE11-ACCB-41D8-9357-127D4C407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84107A-0B26-4478-99D9-8D30185ED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0D62C-B364-48C5-A934-2F757D945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86601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125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9379F6-E593-2BB4-A9FF-4D8A3ED1B259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645AA6-BDB2-6CE6-2529-82672632663A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01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BD1E2C-8816-5CDE-A990-266A2CB25ED2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F26F11-E81E-8611-34FB-BB4D73143380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001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40A832-74F0-572F-3F8D-6AFB197616ED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35EF96-B383-9C23-6242-C430E541FBC8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708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96B7D3-5432-2A3B-3371-340C882472AC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FC6027-587D-C891-9120-97304EF878B2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152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7B1C4D-A42E-38F9-85D2-0616E3CD2480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9061C3-7E33-2C91-6215-9DB452343D4A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448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2D309E-7CD4-909D-22EA-6ACEE7207314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21A3B1F-F2B1-F7DE-DFE9-8AD008D352EB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30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" y="1600201"/>
            <a:ext cx="5283200" cy="3145055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656EAC5-6B5F-4341-86FF-B7369C9AD2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58044" y="1600201"/>
            <a:ext cx="53340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FFEF14-326C-4366-BE6C-30F2EAEF06F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D28B-5132-4352-9BA2-B2C48B333EB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4911693"/>
            <a:ext cx="5283200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C7F8A7A-3661-4A31-988A-37E7A64D4614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3355B2A-3761-9B4A-A6CC-D82F751C5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978769-6475-654F-8177-443C3A323D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CC2593-E020-1C41-B3F8-AD259BDD41F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58044" y="4911693"/>
            <a:ext cx="5324355" cy="109582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20C8FAB-B5E8-442D-A62F-99296559BB9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25A058-6D8A-48C9-B623-C447F7AFDC91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37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3096">
          <p15:clr>
            <a:srgbClr val="FBAE40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749602-2703-420C-8E06-C21DD3AB92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C76D98-9B6D-048A-8175-6BF1CE286B01}"/>
              </a:ext>
            </a:extLst>
          </p:cNvPr>
          <p:cNvSpPr txBox="1"/>
          <p:nvPr userDrawn="1"/>
        </p:nvSpPr>
        <p:spPr>
          <a:xfrm>
            <a:off x="9490043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06692E-7F34-59B3-F80C-CCF66FBC73E5}"/>
              </a:ext>
            </a:extLst>
          </p:cNvPr>
          <p:cNvSpPr txBox="1"/>
          <p:nvPr userDrawn="1"/>
        </p:nvSpPr>
        <p:spPr>
          <a:xfrm>
            <a:off x="11563686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67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314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841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657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87DB8ED-D300-5B41-58CD-45CD57E93D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444547"/>
            <a:ext cx="552780" cy="17910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A8ED303-7981-4902-ADA0-4A9C654E4133}"/>
              </a:ext>
            </a:extLst>
          </p:cNvPr>
          <p:cNvSpPr txBox="1"/>
          <p:nvPr userDrawn="1"/>
        </p:nvSpPr>
        <p:spPr>
          <a:xfrm>
            <a:off x="9472795" y="6539146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2823FF-EE63-6AEB-B460-0BE456E742F9}"/>
              </a:ext>
            </a:extLst>
          </p:cNvPr>
          <p:cNvSpPr txBox="1"/>
          <p:nvPr userDrawn="1"/>
        </p:nvSpPr>
        <p:spPr>
          <a:xfrm>
            <a:off x="11546438" y="6539145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69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098E59-0001-3BDC-E5B1-B4DBD71B90EB}"/>
              </a:ext>
            </a:extLst>
          </p:cNvPr>
          <p:cNvSpPr txBox="1"/>
          <p:nvPr userDrawn="1"/>
        </p:nvSpPr>
        <p:spPr>
          <a:xfrm>
            <a:off x="9472795" y="6539146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3 Visa. All rights reserved. Visa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DE2451-52C9-ED50-D673-016B763BB75F}"/>
              </a:ext>
            </a:extLst>
          </p:cNvPr>
          <p:cNvSpPr txBox="1"/>
          <p:nvPr userDrawn="1"/>
        </p:nvSpPr>
        <p:spPr>
          <a:xfrm>
            <a:off x="11546438" y="6539145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705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094A0A-76A3-1B45-9EF1-EF4320A30CC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15221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684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76EFEF-4B84-4297-84E3-6558A8A501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474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76EFEF-4B84-4297-84E3-6558A8A50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838D896-7B63-466B-9032-10DAC8EC8B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059B729-C6AE-024A-A0B1-CCF30582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E35142D-D790-6240-9E1C-1A74471BC4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82">
            <a:extLst>
              <a:ext uri="{FF2B5EF4-FFF2-40B4-BE49-F238E27FC236}">
                <a16:creationId xmlns:a16="http://schemas.microsoft.com/office/drawing/2014/main" id="{71DBFB0C-1ECC-44C0-9D78-9FD9A29ABD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26EFA58-F5F2-4D22-B97F-A621909A84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00D4965-A59C-4419-B021-F20B435A14D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E5C892E-2395-4F12-B7A1-3909599CC6F8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5286532-C93D-42D4-B9F5-1EED06E5960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685452E-A688-4E57-ADF4-2847F2FE836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3392360" cy="4610100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9F27582-FC77-4983-95ED-134BF12F3B2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402667" y="1600200"/>
            <a:ext cx="3392360" cy="4610100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E7E72C4-7C78-4FA3-959D-44443B6AFED1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8187267" y="1600200"/>
            <a:ext cx="3392360" cy="4610100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300"/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840994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81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2863571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2676284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803244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F86C6F-1984-F1BB-C24F-D4D5BAE689C3}"/>
              </a:ext>
            </a:extLst>
          </p:cNvPr>
          <p:cNvGrpSpPr/>
          <p:nvPr userDrawn="1"/>
        </p:nvGrpSpPr>
        <p:grpSpPr>
          <a:xfrm>
            <a:off x="2440285" y="2733515"/>
            <a:ext cx="2626437" cy="228600"/>
            <a:chOff x="720798" y="3314700"/>
            <a:chExt cx="2626437" cy="22860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76D2ACA-3366-0E9C-8886-A05ECE09CA6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4" name="Graphic 22" descr="Playbook outline">
              <a:extLst>
                <a:ext uri="{FF2B5EF4-FFF2-40B4-BE49-F238E27FC236}">
                  <a16:creationId xmlns:a16="http://schemas.microsoft.com/office/drawing/2014/main" id="{7FF5F233-A68C-CBAB-A2D8-F4ABE1AE9F43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83053EE-CBA7-63E9-BACC-5626CC95C69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9EE629B-A4EA-FC97-6233-68AABAECA914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93259C5-7CF2-8583-4D1C-34A8D8F6BD86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2BC5E1C-DB03-1DEF-0848-5A3552FEB746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04649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1406609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527502-AB0B-EA4C-93C1-E50D3BB46A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09600" y="1600201"/>
            <a:ext cx="3403600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B953B14-58B5-F64D-856E-665137C4F44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429455" y="1600201"/>
            <a:ext cx="3352801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D14F8D7C-7F6F-6143-9DE4-868B2E38A178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78797" y="1600201"/>
            <a:ext cx="3403603" cy="3145055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472EF8D-56BE-AB48-A5F9-187114E9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C8DF82-7F60-4849-A43B-8F4B9B5F0C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CDCA026-D514-4D4B-AB98-08252DB87D8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9600" y="4911693"/>
            <a:ext cx="3423314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DF9BFF8-0532-EE45-9739-4B50F601F77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29245" y="4911693"/>
            <a:ext cx="3343155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82BB9B5-C539-B147-9A3E-C09EB047C3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91017" y="4911693"/>
            <a:ext cx="3403603" cy="1143892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>
              <a:lnSpc>
                <a:spcPct val="100000"/>
              </a:lnSpc>
              <a:spcBef>
                <a:spcPts val="300"/>
              </a:spcBef>
              <a:defRPr sz="1300"/>
            </a:lvl3pPr>
            <a:lvl4pPr>
              <a:lnSpc>
                <a:spcPct val="100000"/>
              </a:lnSpc>
              <a:spcBef>
                <a:spcPts val="300"/>
              </a:spcBef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95D6732-2623-4CB4-8051-6CEEC811E4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4D2990-D9A0-4941-85AE-BF47A35045B1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485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ick Win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27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87259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81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2963324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2784350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F86C6F-1984-F1BB-C24F-D4D5BAE689C3}"/>
              </a:ext>
            </a:extLst>
          </p:cNvPr>
          <p:cNvGrpSpPr/>
          <p:nvPr userDrawn="1"/>
        </p:nvGrpSpPr>
        <p:grpSpPr>
          <a:xfrm>
            <a:off x="2440285" y="2833268"/>
            <a:ext cx="2626437" cy="228600"/>
            <a:chOff x="720798" y="3314700"/>
            <a:chExt cx="2626437" cy="22860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76D2ACA-3366-0E9C-8886-A05ECE09CA6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4" name="Graphic 22" descr="Playbook outline">
              <a:extLst>
                <a:ext uri="{FF2B5EF4-FFF2-40B4-BE49-F238E27FC236}">
                  <a16:creationId xmlns:a16="http://schemas.microsoft.com/office/drawing/2014/main" id="{7FF5F233-A68C-CBAB-A2D8-F4ABE1AE9F43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83053EE-CBA7-63E9-BACC-5626CC95C69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9EE629B-A4EA-FC97-6233-68AABAECA914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93259C5-7CF2-8583-4D1C-34A8D8F6BD86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2BC5E1C-DB03-1DEF-0848-5A3552FEB746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146250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1737706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81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3054765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2784350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F86C6F-1984-F1BB-C24F-D4D5BAE689C3}"/>
              </a:ext>
            </a:extLst>
          </p:cNvPr>
          <p:cNvGrpSpPr/>
          <p:nvPr userDrawn="1"/>
        </p:nvGrpSpPr>
        <p:grpSpPr>
          <a:xfrm>
            <a:off x="2440285" y="2924709"/>
            <a:ext cx="2626437" cy="228600"/>
            <a:chOff x="720798" y="3314700"/>
            <a:chExt cx="2626437" cy="22860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76D2ACA-3366-0E9C-8886-A05ECE09CA6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4" name="Graphic 22" descr="Playbook outline">
              <a:extLst>
                <a:ext uri="{FF2B5EF4-FFF2-40B4-BE49-F238E27FC236}">
                  <a16:creationId xmlns:a16="http://schemas.microsoft.com/office/drawing/2014/main" id="{7FF5F233-A68C-CBAB-A2D8-F4ABE1AE9F43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83053EE-CBA7-63E9-BACC-5626CC95C69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9EE629B-A4EA-FC97-6233-68AABAECA914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93259C5-7CF2-8583-4D1C-34A8D8F6BD86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2BC5E1C-DB03-1DEF-0848-5A3552FEB746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3769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2031222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ick W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40CA6D4-7D60-1C6F-9975-6333ACF9D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24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40CA6D4-7D60-1C6F-9975-6333ACF9D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D217381-E3DD-48E0-57F4-ECDADE961DF0}"/>
              </a:ext>
            </a:extLst>
          </p:cNvPr>
          <p:cNvCxnSpPr>
            <a:cxnSpLocks/>
          </p:cNvCxnSpPr>
          <p:nvPr userDrawn="1"/>
        </p:nvCxnSpPr>
        <p:spPr>
          <a:xfrm>
            <a:off x="720724" y="3412211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64B5AF04-C2F9-3DD7-80A8-008D77A75579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BFCEAA-CF87-FEFB-1492-CE90E3B91268}"/>
              </a:ext>
            </a:extLst>
          </p:cNvPr>
          <p:cNvSpPr/>
          <p:nvPr userDrawn="1"/>
        </p:nvSpPr>
        <p:spPr>
          <a:xfrm>
            <a:off x="2335771" y="3266488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9CDCD4-826A-187A-0DB2-3DAF02EF16B2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44D3DD-C287-8133-A3A5-52AB76EE4D1B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rgbClr val="F7A105"/>
                </a:solidFill>
                <a:latin typeface="Visa Dialect Semibold" pitchFamily="2" charset="0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7A105"/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Strategic Priority 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rgbClr val="F7A1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ABC5D4-A2EE-2EC0-8F3C-3D73E983E3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E52346-DB5D-ADCB-BEE3-435C59B33994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286A296-1DBA-6E78-452B-ED589C937F24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1140A1FD-4F4C-E8E7-87A1-9268782CB5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54A89CAE-46BC-75BA-1883-7453397D7F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6" name="Text Placeholder 31">
            <a:extLst>
              <a:ext uri="{FF2B5EF4-FFF2-40B4-BE49-F238E27FC236}">
                <a16:creationId xmlns:a16="http://schemas.microsoft.com/office/drawing/2014/main" id="{A6CB45AE-81C3-295E-2617-40AEBCD612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A7376B0-A95D-A2AB-ED24-1F541B1DF3EF}"/>
              </a:ext>
            </a:extLst>
          </p:cNvPr>
          <p:cNvSpPr/>
          <p:nvPr userDrawn="1"/>
        </p:nvSpPr>
        <p:spPr>
          <a:xfrm>
            <a:off x="2335771" y="3255291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7587B05-3668-9773-6572-527A9A3836C9}"/>
              </a:ext>
            </a:extLst>
          </p:cNvPr>
          <p:cNvGrpSpPr/>
          <p:nvPr userDrawn="1"/>
        </p:nvGrpSpPr>
        <p:grpSpPr>
          <a:xfrm>
            <a:off x="2440285" y="3312522"/>
            <a:ext cx="2626437" cy="228600"/>
            <a:chOff x="720798" y="3314700"/>
            <a:chExt cx="2626437" cy="228600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629CB17-9D22-1197-04FD-8DED749E60D5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42" name="Graphic 22" descr="Playbook outline">
              <a:extLst>
                <a:ext uri="{FF2B5EF4-FFF2-40B4-BE49-F238E27FC236}">
                  <a16:creationId xmlns:a16="http://schemas.microsoft.com/office/drawing/2014/main" id="{655A5839-5FDF-9DA2-2305-7DAAAAD3AF4A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25EF7F58-85B5-0872-1070-E7F7AB445835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ED6ED2C1-38F6-9726-227D-A358F6A0E322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97A9F35-65F3-06AD-18F7-672A8EB06E2C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0959CF0-9AE3-5C79-3426-838286FEE34D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845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453775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266488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323719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4217451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192520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005233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062464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375446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297096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ategic Priority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44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21676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254274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066987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124218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12749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3111709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rategic Prio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299FF3B8-9DD0-A4EA-4362-2E2617D54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91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299FF3B8-9DD0-A4EA-4362-2E2617D54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9C44EF8-0492-9847-9E9A-9278110E051F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12F029-8B6B-B265-2498-74B8A286E1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D560A4-A43F-D6C2-412E-69DB5F304ADC}"/>
              </a:ext>
            </a:extLst>
          </p:cNvPr>
          <p:cNvCxnSpPr>
            <a:cxnSpLocks/>
          </p:cNvCxnSpPr>
          <p:nvPr userDrawn="1"/>
        </p:nvCxnSpPr>
        <p:spPr>
          <a:xfrm>
            <a:off x="720724" y="3196083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AAB0947-95D2-91E4-7D78-09DB59B2DEBC}"/>
              </a:ext>
            </a:extLst>
          </p:cNvPr>
          <p:cNvSpPr/>
          <p:nvPr userDrawn="1"/>
        </p:nvSpPr>
        <p:spPr>
          <a:xfrm>
            <a:off x="2335771" y="3008796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6D7641-6154-86F4-A327-29637533DB57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E367C4F-70EC-BDE9-C5AE-B9B11182E658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DBCA95-4CE6-5F1B-53B5-D893E10B84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1081CE7-7E75-EA00-68A7-0C54ED1FF55C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0BA9ABA6-7CB6-CA38-69DC-2546A6AB3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1CA976-9F81-6668-F4D9-322EEFF3DB11}"/>
              </a:ext>
            </a:extLst>
          </p:cNvPr>
          <p:cNvGrpSpPr/>
          <p:nvPr userDrawn="1"/>
        </p:nvGrpSpPr>
        <p:grpSpPr>
          <a:xfrm>
            <a:off x="2440285" y="3066027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6C6ED41-066B-E55F-C952-AAC8D82E2157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5BBCE1FA-EEAD-24C7-2DF1-5FE0669BDE76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0279A02F-99C8-CD64-1295-7B2F48DFCBD8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1B25826-52E0-D5DE-3AFC-AC9D87403E3E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A16AD64-CABD-8EE9-EDC3-5E6459498A1D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4B0231A-BFD2-5301-5468-6572A959FBFE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8889CBED-D29E-2F6D-0012-F7983F23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72C35BD8-DD3E-035D-F507-71FB251561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312505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</p:spTree>
    <p:extLst>
      <p:ext uri="{BB962C8B-B14F-4D97-AF65-F5344CB8AC3E}">
        <p14:creationId xmlns:p14="http://schemas.microsoft.com/office/powerpoint/2010/main" val="2630067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649726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3462439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3519670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832652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368912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w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6BCCFD-B912-2F49-AE52-7814FFDCB53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832065A-C6D7-614D-A733-535BCA5ADF1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8"/>
            <a:ext cx="5334000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7C7B404-7F93-AD4C-BE41-E5247D351B5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48399" y="471458"/>
            <a:ext cx="5334001" cy="273196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A5108AEE-9096-4643-8AFA-8EFF143BF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962758-65CF-1D46-ADE8-60345727EDE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AC0383B-4DFE-41B8-9E86-224BAA4F75E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25784D-75B2-452E-A835-A761758F810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63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109399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2922112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2979343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832652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283280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084462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2897175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2954406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67388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873E47-87BF-01BB-4E61-E91376575734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</a:t>
            </a:r>
            <a:r>
              <a:rPr lang="en-US" sz="1000" kern="1200" noProof="0">
                <a:solidFill>
                  <a:schemeClr val="accent2"/>
                </a:solidFill>
                <a:latin typeface="Visa Dialect Semibold" pitchFamily="2" charset="0"/>
                <a:ea typeface="+mn-ea"/>
                <a:cs typeface="+mn-cs"/>
              </a:rPr>
              <a:t>Strategic Priority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/ Future Consid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Visa Dialect Semibold"/>
              <a:ea typeface="+mn-ea"/>
              <a:cs typeface="+mn-cs"/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D0B24D5E-B35A-0424-F0C4-E0D5CC0D6724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18A1B475-020B-A9DA-4D11-E1F5E4B3C7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50563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13CD8B-B9CB-A647-F5BB-07FF390B2766}"/>
              </a:ext>
            </a:extLst>
          </p:cNvPr>
          <p:cNvCxnSpPr>
            <a:cxnSpLocks/>
          </p:cNvCxnSpPr>
          <p:nvPr userDrawn="1"/>
        </p:nvCxnSpPr>
        <p:spPr>
          <a:xfrm>
            <a:off x="720724" y="3084462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810204-7F21-219F-A718-3F5E41C955E6}"/>
              </a:ext>
            </a:extLst>
          </p:cNvPr>
          <p:cNvSpPr/>
          <p:nvPr userDrawn="1"/>
        </p:nvSpPr>
        <p:spPr>
          <a:xfrm>
            <a:off x="2335771" y="2897175"/>
            <a:ext cx="2835465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986F40-8CE1-90D2-BED2-A6BF956C43A4}"/>
              </a:ext>
            </a:extLst>
          </p:cNvPr>
          <p:cNvCxnSpPr>
            <a:cxnSpLocks/>
          </p:cNvCxnSpPr>
          <p:nvPr userDrawn="1"/>
        </p:nvCxnSpPr>
        <p:spPr>
          <a:xfrm>
            <a:off x="720724" y="1310708"/>
            <a:ext cx="606555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66DC150-E05C-93F4-918D-A6AE2567153F}"/>
              </a:ext>
            </a:extLst>
          </p:cNvPr>
          <p:cNvSpPr/>
          <p:nvPr userDrawn="1"/>
        </p:nvSpPr>
        <p:spPr>
          <a:xfrm>
            <a:off x="2784582" y="1114921"/>
            <a:ext cx="1900518" cy="3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8FBD77-D606-2FC1-8CED-AB0B04EF1DBC}"/>
              </a:ext>
            </a:extLst>
          </p:cNvPr>
          <p:cNvGrpSpPr/>
          <p:nvPr userDrawn="1"/>
        </p:nvGrpSpPr>
        <p:grpSpPr>
          <a:xfrm>
            <a:off x="2878805" y="1182940"/>
            <a:ext cx="1712072" cy="225498"/>
            <a:chOff x="665155" y="1219075"/>
            <a:chExt cx="1712072" cy="225498"/>
          </a:xfrm>
          <a:solidFill>
            <a:schemeClr val="bg1"/>
          </a:solidFill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7C0BC4E-3361-AF5F-6C03-971CF1F82753}"/>
                </a:ext>
              </a:extLst>
            </p:cNvPr>
            <p:cNvSpPr txBox="1"/>
            <p:nvPr userDrawn="1"/>
          </p:nvSpPr>
          <p:spPr>
            <a:xfrm>
              <a:off x="968187" y="1247732"/>
              <a:ext cx="1409040" cy="18466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Key Observation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32EE242C-CF4C-0ECF-B105-D50BF44DC1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65155" y="1219075"/>
              <a:ext cx="225498" cy="225498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ED1BFFB-F857-5AA5-2B81-580A3155A2F4}"/>
              </a:ext>
            </a:extLst>
          </p:cNvPr>
          <p:cNvGrpSpPr/>
          <p:nvPr userDrawn="1"/>
        </p:nvGrpSpPr>
        <p:grpSpPr>
          <a:xfrm>
            <a:off x="2440285" y="2954406"/>
            <a:ext cx="2626437" cy="228600"/>
            <a:chOff x="720798" y="3314700"/>
            <a:chExt cx="2626437" cy="22860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90D9B5D-C78A-1801-8DB3-401B1AAC6CEC}"/>
                </a:ext>
              </a:extLst>
            </p:cNvPr>
            <p:cNvSpPr txBox="1"/>
            <p:nvPr userDrawn="1"/>
          </p:nvSpPr>
          <p:spPr>
            <a:xfrm>
              <a:off x="1030895" y="3336667"/>
              <a:ext cx="23163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Visa Dialect Medium" pitchFamily="2" charset="0"/>
                  <a:ea typeface="+mn-ea"/>
                  <a:cs typeface="Segoe UI" panose="020B0502040204020203" pitchFamily="34" charset="0"/>
                </a:rPr>
                <a:t>Go-to-Market Considerations</a:t>
              </a:r>
            </a:p>
          </p:txBody>
        </p:sp>
        <p:grpSp>
          <p:nvGrpSpPr>
            <p:cNvPr id="28" name="Graphic 22" descr="Playbook outline">
              <a:extLst>
                <a:ext uri="{FF2B5EF4-FFF2-40B4-BE49-F238E27FC236}">
                  <a16:creationId xmlns:a16="http://schemas.microsoft.com/office/drawing/2014/main" id="{A4415860-A8EF-5BA8-AC0D-81672DCE9121}"/>
                </a:ext>
              </a:extLst>
            </p:cNvPr>
            <p:cNvGrpSpPr/>
            <p:nvPr/>
          </p:nvGrpSpPr>
          <p:grpSpPr>
            <a:xfrm>
              <a:off x="720798" y="3314700"/>
              <a:ext cx="228600" cy="228600"/>
              <a:chOff x="5800725" y="3124200"/>
              <a:chExt cx="600075" cy="619125"/>
            </a:xfrm>
            <a:solidFill>
              <a:srgbClr val="000000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5C60D95E-F279-F0E1-4D16-630F9FC1A11D}"/>
                  </a:ext>
                </a:extLst>
              </p:cNvPr>
              <p:cNvSpPr/>
              <p:nvPr/>
            </p:nvSpPr>
            <p:spPr>
              <a:xfrm>
                <a:off x="5948364" y="3229091"/>
                <a:ext cx="142756" cy="142756"/>
              </a:xfrm>
              <a:custGeom>
                <a:avLst/>
                <a:gdLst>
                  <a:gd name="connsiteX0" fmla="*/ 2789 w 142756"/>
                  <a:gd name="connsiteY0" fmla="*/ 139967 h 142756"/>
                  <a:gd name="connsiteX1" fmla="*/ 16257 w 142756"/>
                  <a:gd name="connsiteY1" fmla="*/ 139967 h 142756"/>
                  <a:gd name="connsiteX2" fmla="*/ 71436 w 142756"/>
                  <a:gd name="connsiteY2" fmla="*/ 84789 h 142756"/>
                  <a:gd name="connsiteX3" fmla="*/ 126614 w 142756"/>
                  <a:gd name="connsiteY3" fmla="*/ 139967 h 142756"/>
                  <a:gd name="connsiteX4" fmla="*/ 140082 w 142756"/>
                  <a:gd name="connsiteY4" fmla="*/ 139733 h 142756"/>
                  <a:gd name="connsiteX5" fmla="*/ 140082 w 142756"/>
                  <a:gd name="connsiteY5" fmla="*/ 126499 h 142756"/>
                  <a:gd name="connsiteX6" fmla="*/ 84904 w 142756"/>
                  <a:gd name="connsiteY6" fmla="*/ 71321 h 142756"/>
                  <a:gd name="connsiteX7" fmla="*/ 140082 w 142756"/>
                  <a:gd name="connsiteY7" fmla="*/ 16142 h 142756"/>
                  <a:gd name="connsiteX8" fmla="*/ 139848 w 142756"/>
                  <a:gd name="connsiteY8" fmla="*/ 2674 h 142756"/>
                  <a:gd name="connsiteX9" fmla="*/ 126614 w 142756"/>
                  <a:gd name="connsiteY9" fmla="*/ 2674 h 142756"/>
                  <a:gd name="connsiteX10" fmla="*/ 71436 w 142756"/>
                  <a:gd name="connsiteY10" fmla="*/ 57852 h 142756"/>
                  <a:gd name="connsiteX11" fmla="*/ 16257 w 142756"/>
                  <a:gd name="connsiteY11" fmla="*/ 2674 h 142756"/>
                  <a:gd name="connsiteX12" fmla="*/ 2789 w 142756"/>
                  <a:gd name="connsiteY12" fmla="*/ 2908 h 142756"/>
                  <a:gd name="connsiteX13" fmla="*/ 2789 w 142756"/>
                  <a:gd name="connsiteY13" fmla="*/ 16142 h 142756"/>
                  <a:gd name="connsiteX14" fmla="*/ 57967 w 142756"/>
                  <a:gd name="connsiteY14" fmla="*/ 71321 h 142756"/>
                  <a:gd name="connsiteX15" fmla="*/ 2789 w 142756"/>
                  <a:gd name="connsiteY15" fmla="*/ 126499 h 142756"/>
                  <a:gd name="connsiteX16" fmla="*/ 2789 w 142756"/>
                  <a:gd name="connsiteY16" fmla="*/ 139967 h 142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56" h="142756">
                    <a:moveTo>
                      <a:pt x="2789" y="139967"/>
                    </a:moveTo>
                    <a:cubicBezTo>
                      <a:pt x="6508" y="143686"/>
                      <a:pt x="12538" y="143686"/>
                      <a:pt x="16257" y="139967"/>
                    </a:cubicBezTo>
                    <a:lnTo>
                      <a:pt x="71436" y="84789"/>
                    </a:lnTo>
                    <a:lnTo>
                      <a:pt x="126614" y="139967"/>
                    </a:lnTo>
                    <a:cubicBezTo>
                      <a:pt x="130398" y="143622"/>
                      <a:pt x="136428" y="143517"/>
                      <a:pt x="140082" y="139733"/>
                    </a:cubicBezTo>
                    <a:cubicBezTo>
                      <a:pt x="143647" y="136042"/>
                      <a:pt x="143647" y="130190"/>
                      <a:pt x="140082" y="126499"/>
                    </a:cubicBezTo>
                    <a:lnTo>
                      <a:pt x="84904" y="71321"/>
                    </a:lnTo>
                    <a:lnTo>
                      <a:pt x="140082" y="16142"/>
                    </a:lnTo>
                    <a:cubicBezTo>
                      <a:pt x="143737" y="12358"/>
                      <a:pt x="143632" y="6329"/>
                      <a:pt x="139848" y="2674"/>
                    </a:cubicBezTo>
                    <a:cubicBezTo>
                      <a:pt x="136157" y="-891"/>
                      <a:pt x="130305" y="-891"/>
                      <a:pt x="126614" y="2674"/>
                    </a:cubicBezTo>
                    <a:lnTo>
                      <a:pt x="71436" y="57852"/>
                    </a:lnTo>
                    <a:lnTo>
                      <a:pt x="16257" y="2674"/>
                    </a:lnTo>
                    <a:cubicBezTo>
                      <a:pt x="12473" y="-981"/>
                      <a:pt x="6444" y="-876"/>
                      <a:pt x="2789" y="2908"/>
                    </a:cubicBezTo>
                    <a:cubicBezTo>
                      <a:pt x="-776" y="6599"/>
                      <a:pt x="-776" y="12451"/>
                      <a:pt x="2789" y="16142"/>
                    </a:cubicBezTo>
                    <a:lnTo>
                      <a:pt x="57967" y="71321"/>
                    </a:lnTo>
                    <a:lnTo>
                      <a:pt x="2789" y="126499"/>
                    </a:lnTo>
                    <a:cubicBezTo>
                      <a:pt x="-930" y="130218"/>
                      <a:pt x="-930" y="136248"/>
                      <a:pt x="2789" y="1399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4A44CC0-97ED-007E-0377-F5D2BFF84AA1}"/>
                  </a:ext>
                </a:extLst>
              </p:cNvPr>
              <p:cNvSpPr/>
              <p:nvPr/>
            </p:nvSpPr>
            <p:spPr>
              <a:xfrm>
                <a:off x="6157795" y="3495676"/>
                <a:ext cx="142990" cy="142990"/>
              </a:xfrm>
              <a:custGeom>
                <a:avLst/>
                <a:gdLst>
                  <a:gd name="connsiteX0" fmla="*/ 140202 w 142990"/>
                  <a:gd name="connsiteY0" fmla="*/ 2789 h 142990"/>
                  <a:gd name="connsiteX1" fmla="*/ 126733 w 142990"/>
                  <a:gd name="connsiteY1" fmla="*/ 2789 h 142990"/>
                  <a:gd name="connsiteX2" fmla="*/ 71555 w 142990"/>
                  <a:gd name="connsiteY2" fmla="*/ 57967 h 142990"/>
                  <a:gd name="connsiteX3" fmla="*/ 16377 w 142990"/>
                  <a:gd name="connsiteY3" fmla="*/ 2789 h 142990"/>
                  <a:gd name="connsiteX4" fmla="*/ 2908 w 142990"/>
                  <a:gd name="connsiteY4" fmla="*/ 3023 h 142990"/>
                  <a:gd name="connsiteX5" fmla="*/ 2908 w 142990"/>
                  <a:gd name="connsiteY5" fmla="*/ 16257 h 142990"/>
                  <a:gd name="connsiteX6" fmla="*/ 58087 w 142990"/>
                  <a:gd name="connsiteY6" fmla="*/ 71436 h 142990"/>
                  <a:gd name="connsiteX7" fmla="*/ 2908 w 142990"/>
                  <a:gd name="connsiteY7" fmla="*/ 126614 h 142990"/>
                  <a:gd name="connsiteX8" fmla="*/ 2674 w 142990"/>
                  <a:gd name="connsiteY8" fmla="*/ 140082 h 142990"/>
                  <a:gd name="connsiteX9" fmla="*/ 16142 w 142990"/>
                  <a:gd name="connsiteY9" fmla="*/ 140317 h 142990"/>
                  <a:gd name="connsiteX10" fmla="*/ 16377 w 142990"/>
                  <a:gd name="connsiteY10" fmla="*/ 140082 h 142990"/>
                  <a:gd name="connsiteX11" fmla="*/ 71555 w 142990"/>
                  <a:gd name="connsiteY11" fmla="*/ 84904 h 142990"/>
                  <a:gd name="connsiteX12" fmla="*/ 126733 w 142990"/>
                  <a:gd name="connsiteY12" fmla="*/ 140082 h 142990"/>
                  <a:gd name="connsiteX13" fmla="*/ 140202 w 142990"/>
                  <a:gd name="connsiteY13" fmla="*/ 139848 h 142990"/>
                  <a:gd name="connsiteX14" fmla="*/ 140202 w 142990"/>
                  <a:gd name="connsiteY14" fmla="*/ 126614 h 142990"/>
                  <a:gd name="connsiteX15" fmla="*/ 85023 w 142990"/>
                  <a:gd name="connsiteY15" fmla="*/ 71436 h 142990"/>
                  <a:gd name="connsiteX16" fmla="*/ 140202 w 142990"/>
                  <a:gd name="connsiteY16" fmla="*/ 16257 h 142990"/>
                  <a:gd name="connsiteX17" fmla="*/ 140202 w 142990"/>
                  <a:gd name="connsiteY17" fmla="*/ 2789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990" h="142990">
                    <a:moveTo>
                      <a:pt x="140202" y="2789"/>
                    </a:moveTo>
                    <a:cubicBezTo>
                      <a:pt x="136482" y="-930"/>
                      <a:pt x="130453" y="-930"/>
                      <a:pt x="126733" y="2789"/>
                    </a:cubicBezTo>
                    <a:lnTo>
                      <a:pt x="71555" y="57967"/>
                    </a:lnTo>
                    <a:lnTo>
                      <a:pt x="16377" y="2789"/>
                    </a:lnTo>
                    <a:cubicBezTo>
                      <a:pt x="12592" y="-866"/>
                      <a:pt x="6563" y="-761"/>
                      <a:pt x="2908" y="3023"/>
                    </a:cubicBezTo>
                    <a:cubicBezTo>
                      <a:pt x="-657" y="6714"/>
                      <a:pt x="-657" y="12566"/>
                      <a:pt x="2908" y="16257"/>
                    </a:cubicBezTo>
                    <a:lnTo>
                      <a:pt x="58087" y="71436"/>
                    </a:lnTo>
                    <a:lnTo>
                      <a:pt x="2908" y="126614"/>
                    </a:lnTo>
                    <a:cubicBezTo>
                      <a:pt x="-876" y="130269"/>
                      <a:pt x="-981" y="136298"/>
                      <a:pt x="2674" y="140082"/>
                    </a:cubicBezTo>
                    <a:cubicBezTo>
                      <a:pt x="6329" y="143867"/>
                      <a:pt x="12359" y="143971"/>
                      <a:pt x="16142" y="140317"/>
                    </a:cubicBezTo>
                    <a:cubicBezTo>
                      <a:pt x="16222" y="140239"/>
                      <a:pt x="16300" y="140161"/>
                      <a:pt x="16377" y="140082"/>
                    </a:cubicBezTo>
                    <a:lnTo>
                      <a:pt x="71555" y="84904"/>
                    </a:lnTo>
                    <a:lnTo>
                      <a:pt x="126733" y="140082"/>
                    </a:lnTo>
                    <a:cubicBezTo>
                      <a:pt x="130518" y="143737"/>
                      <a:pt x="136547" y="143632"/>
                      <a:pt x="140202" y="139848"/>
                    </a:cubicBezTo>
                    <a:cubicBezTo>
                      <a:pt x="143767" y="136157"/>
                      <a:pt x="143767" y="130305"/>
                      <a:pt x="140202" y="126614"/>
                    </a:cubicBezTo>
                    <a:lnTo>
                      <a:pt x="85023" y="71436"/>
                    </a:lnTo>
                    <a:lnTo>
                      <a:pt x="140202" y="16257"/>
                    </a:lnTo>
                    <a:cubicBezTo>
                      <a:pt x="143920" y="12538"/>
                      <a:pt x="143920" y="6508"/>
                      <a:pt x="140202" y="278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47CA920-AE44-2098-0F05-76BC5FB66769}"/>
                  </a:ext>
                </a:extLst>
              </p:cNvPr>
              <p:cNvSpPr/>
              <p:nvPr/>
            </p:nvSpPr>
            <p:spPr>
              <a:xfrm>
                <a:off x="5943867" y="3229013"/>
                <a:ext cx="361565" cy="409561"/>
              </a:xfrm>
              <a:custGeom>
                <a:avLst/>
                <a:gdLst>
                  <a:gd name="connsiteX0" fmla="*/ 78133 w 361565"/>
                  <a:gd name="connsiteY0" fmla="*/ 409537 h 409561"/>
                  <a:gd name="connsiteX1" fmla="*/ 152018 w 361565"/>
                  <a:gd name="connsiteY1" fmla="*/ 337509 h 409561"/>
                  <a:gd name="connsiteX2" fmla="*/ 85458 w 361565"/>
                  <a:gd name="connsiteY2" fmla="*/ 257794 h 409561"/>
                  <a:gd name="connsiteX3" fmla="*/ 85458 w 361565"/>
                  <a:gd name="connsiteY3" fmla="*/ 238087 h 409561"/>
                  <a:gd name="connsiteX4" fmla="*/ 114033 w 361565"/>
                  <a:gd name="connsiteY4" fmla="*/ 209512 h 409561"/>
                  <a:gd name="connsiteX5" fmla="*/ 247383 w 361565"/>
                  <a:gd name="connsiteY5" fmla="*/ 209512 h 409561"/>
                  <a:gd name="connsiteX6" fmla="*/ 295008 w 361565"/>
                  <a:gd name="connsiteY6" fmla="*/ 161887 h 409561"/>
                  <a:gd name="connsiteX7" fmla="*/ 295008 w 361565"/>
                  <a:gd name="connsiteY7" fmla="*/ 32709 h 409561"/>
                  <a:gd name="connsiteX8" fmla="*/ 295104 w 361565"/>
                  <a:gd name="connsiteY8" fmla="*/ 32615 h 409561"/>
                  <a:gd name="connsiteX9" fmla="*/ 295170 w 361565"/>
                  <a:gd name="connsiteY9" fmla="*/ 32642 h 409561"/>
                  <a:gd name="connsiteX10" fmla="*/ 345424 w 361565"/>
                  <a:gd name="connsiteY10" fmla="*/ 82896 h 409561"/>
                  <a:gd name="connsiteX11" fmla="*/ 358892 w 361565"/>
                  <a:gd name="connsiteY11" fmla="*/ 82662 h 409561"/>
                  <a:gd name="connsiteX12" fmla="*/ 358892 w 361565"/>
                  <a:gd name="connsiteY12" fmla="*/ 69428 h 409561"/>
                  <a:gd name="connsiteX13" fmla="*/ 292217 w 361565"/>
                  <a:gd name="connsiteY13" fmla="*/ 2753 h 409561"/>
                  <a:gd name="connsiteX14" fmla="*/ 291922 w 361565"/>
                  <a:gd name="connsiteY14" fmla="*/ 2553 h 409561"/>
                  <a:gd name="connsiteX15" fmla="*/ 289131 w 361565"/>
                  <a:gd name="connsiteY15" fmla="*/ 648 h 409561"/>
                  <a:gd name="connsiteX16" fmla="*/ 289131 w 361565"/>
                  <a:gd name="connsiteY16" fmla="*/ 648 h 409561"/>
                  <a:gd name="connsiteX17" fmla="*/ 288874 w 361565"/>
                  <a:gd name="connsiteY17" fmla="*/ 591 h 409561"/>
                  <a:gd name="connsiteX18" fmla="*/ 285883 w 361565"/>
                  <a:gd name="connsiteY18" fmla="*/ 0 h 409561"/>
                  <a:gd name="connsiteX19" fmla="*/ 284930 w 361565"/>
                  <a:gd name="connsiteY19" fmla="*/ 57 h 409561"/>
                  <a:gd name="connsiteX20" fmla="*/ 282578 w 361565"/>
                  <a:gd name="connsiteY20" fmla="*/ 514 h 409561"/>
                  <a:gd name="connsiteX21" fmla="*/ 281625 w 361565"/>
                  <a:gd name="connsiteY21" fmla="*/ 848 h 409561"/>
                  <a:gd name="connsiteX22" fmla="*/ 278768 w 361565"/>
                  <a:gd name="connsiteY22" fmla="*/ 2753 h 409561"/>
                  <a:gd name="connsiteX23" fmla="*/ 212093 w 361565"/>
                  <a:gd name="connsiteY23" fmla="*/ 69428 h 409561"/>
                  <a:gd name="connsiteX24" fmla="*/ 212327 w 361565"/>
                  <a:gd name="connsiteY24" fmla="*/ 82896 h 409561"/>
                  <a:gd name="connsiteX25" fmla="*/ 225561 w 361565"/>
                  <a:gd name="connsiteY25" fmla="*/ 82896 h 409561"/>
                  <a:gd name="connsiteX26" fmla="*/ 275815 w 361565"/>
                  <a:gd name="connsiteY26" fmla="*/ 32642 h 409561"/>
                  <a:gd name="connsiteX27" fmla="*/ 275949 w 361565"/>
                  <a:gd name="connsiteY27" fmla="*/ 32643 h 409561"/>
                  <a:gd name="connsiteX28" fmla="*/ 275977 w 361565"/>
                  <a:gd name="connsiteY28" fmla="*/ 32709 h 409561"/>
                  <a:gd name="connsiteX29" fmla="*/ 275977 w 361565"/>
                  <a:gd name="connsiteY29" fmla="*/ 161887 h 409561"/>
                  <a:gd name="connsiteX30" fmla="*/ 247402 w 361565"/>
                  <a:gd name="connsiteY30" fmla="*/ 190462 h 409561"/>
                  <a:gd name="connsiteX31" fmla="*/ 114033 w 361565"/>
                  <a:gd name="connsiteY31" fmla="*/ 190462 h 409561"/>
                  <a:gd name="connsiteX32" fmla="*/ 66408 w 361565"/>
                  <a:gd name="connsiteY32" fmla="*/ 238087 h 409561"/>
                  <a:gd name="connsiteX33" fmla="*/ 66408 w 361565"/>
                  <a:gd name="connsiteY33" fmla="*/ 257794 h 409561"/>
                  <a:gd name="connsiteX34" fmla="*/ 641 w 361565"/>
                  <a:gd name="connsiteY34" fmla="*/ 343162 h 409561"/>
                  <a:gd name="connsiteX35" fmla="*/ 78133 w 361565"/>
                  <a:gd name="connsiteY35" fmla="*/ 409537 h 409561"/>
                  <a:gd name="connsiteX36" fmla="*/ 75933 w 361565"/>
                  <a:gd name="connsiteY36" fmla="*/ 276187 h 409561"/>
                  <a:gd name="connsiteX37" fmla="*/ 133083 w 361565"/>
                  <a:gd name="connsiteY37" fmla="*/ 333337 h 409561"/>
                  <a:gd name="connsiteX38" fmla="*/ 75933 w 361565"/>
                  <a:gd name="connsiteY38" fmla="*/ 390487 h 409561"/>
                  <a:gd name="connsiteX39" fmla="*/ 18783 w 361565"/>
                  <a:gd name="connsiteY39" fmla="*/ 333337 h 409561"/>
                  <a:gd name="connsiteX40" fmla="*/ 75933 w 361565"/>
                  <a:gd name="connsiteY40" fmla="*/ 276187 h 4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1565" h="409561">
                    <a:moveTo>
                      <a:pt x="78133" y="409537"/>
                    </a:moveTo>
                    <a:cubicBezTo>
                      <a:pt x="117584" y="408016"/>
                      <a:pt x="149494" y="376908"/>
                      <a:pt x="152018" y="337509"/>
                    </a:cubicBezTo>
                    <a:cubicBezTo>
                      <a:pt x="154176" y="297591"/>
                      <a:pt x="125120" y="262793"/>
                      <a:pt x="85458" y="257794"/>
                    </a:cubicBezTo>
                    <a:lnTo>
                      <a:pt x="85458" y="238087"/>
                    </a:lnTo>
                    <a:cubicBezTo>
                      <a:pt x="85458" y="222305"/>
                      <a:pt x="98251" y="209512"/>
                      <a:pt x="114033" y="209512"/>
                    </a:cubicBezTo>
                    <a:lnTo>
                      <a:pt x="247383" y="209512"/>
                    </a:lnTo>
                    <a:cubicBezTo>
                      <a:pt x="273685" y="209512"/>
                      <a:pt x="295008" y="188189"/>
                      <a:pt x="295008" y="161887"/>
                    </a:cubicBezTo>
                    <a:lnTo>
                      <a:pt x="295008" y="32709"/>
                    </a:lnTo>
                    <a:cubicBezTo>
                      <a:pt x="295009" y="32656"/>
                      <a:pt x="295052" y="32615"/>
                      <a:pt x="295104" y="32615"/>
                    </a:cubicBezTo>
                    <a:cubicBezTo>
                      <a:pt x="295129" y="32616"/>
                      <a:pt x="295153" y="32625"/>
                      <a:pt x="295170" y="32642"/>
                    </a:cubicBezTo>
                    <a:lnTo>
                      <a:pt x="345424" y="82896"/>
                    </a:lnTo>
                    <a:cubicBezTo>
                      <a:pt x="349208" y="86551"/>
                      <a:pt x="355237" y="86446"/>
                      <a:pt x="358892" y="82662"/>
                    </a:cubicBezTo>
                    <a:cubicBezTo>
                      <a:pt x="362457" y="78971"/>
                      <a:pt x="362457" y="73119"/>
                      <a:pt x="358892" y="69428"/>
                    </a:cubicBezTo>
                    <a:lnTo>
                      <a:pt x="292217" y="2753"/>
                    </a:lnTo>
                    <a:cubicBezTo>
                      <a:pt x="292131" y="2667"/>
                      <a:pt x="292007" y="2638"/>
                      <a:pt x="291922" y="2553"/>
                    </a:cubicBezTo>
                    <a:cubicBezTo>
                      <a:pt x="291110" y="1759"/>
                      <a:pt x="290165" y="1114"/>
                      <a:pt x="289131" y="648"/>
                    </a:cubicBezTo>
                    <a:lnTo>
                      <a:pt x="289131" y="648"/>
                    </a:lnTo>
                    <a:cubicBezTo>
                      <a:pt x="289055" y="648"/>
                      <a:pt x="288959" y="648"/>
                      <a:pt x="288874" y="591"/>
                    </a:cubicBezTo>
                    <a:cubicBezTo>
                      <a:pt x="287915" y="231"/>
                      <a:pt x="286905" y="32"/>
                      <a:pt x="285883" y="0"/>
                    </a:cubicBezTo>
                    <a:cubicBezTo>
                      <a:pt x="285565" y="1"/>
                      <a:pt x="285247" y="20"/>
                      <a:pt x="284930" y="57"/>
                    </a:cubicBezTo>
                    <a:cubicBezTo>
                      <a:pt x="284129" y="105"/>
                      <a:pt x="283338" y="258"/>
                      <a:pt x="282578" y="514"/>
                    </a:cubicBezTo>
                    <a:cubicBezTo>
                      <a:pt x="282253" y="605"/>
                      <a:pt x="281935" y="716"/>
                      <a:pt x="281625" y="848"/>
                    </a:cubicBezTo>
                    <a:cubicBezTo>
                      <a:pt x="280562" y="1298"/>
                      <a:pt x="279592" y="1944"/>
                      <a:pt x="278768" y="2753"/>
                    </a:cubicBezTo>
                    <a:lnTo>
                      <a:pt x="212093" y="69428"/>
                    </a:lnTo>
                    <a:cubicBezTo>
                      <a:pt x="208438" y="73212"/>
                      <a:pt x="208543" y="79241"/>
                      <a:pt x="212327" y="82896"/>
                    </a:cubicBezTo>
                    <a:cubicBezTo>
                      <a:pt x="216018" y="86461"/>
                      <a:pt x="221870" y="86461"/>
                      <a:pt x="225561" y="82896"/>
                    </a:cubicBezTo>
                    <a:lnTo>
                      <a:pt x="275815" y="32642"/>
                    </a:lnTo>
                    <a:cubicBezTo>
                      <a:pt x="275852" y="32605"/>
                      <a:pt x="275913" y="32606"/>
                      <a:pt x="275949" y="32643"/>
                    </a:cubicBezTo>
                    <a:cubicBezTo>
                      <a:pt x="275966" y="32661"/>
                      <a:pt x="275977" y="32684"/>
                      <a:pt x="275977" y="32709"/>
                    </a:cubicBezTo>
                    <a:lnTo>
                      <a:pt x="275977" y="161887"/>
                    </a:lnTo>
                    <a:cubicBezTo>
                      <a:pt x="275977" y="177669"/>
                      <a:pt x="263184" y="190462"/>
                      <a:pt x="247402" y="190462"/>
                    </a:cubicBezTo>
                    <a:lnTo>
                      <a:pt x="114033" y="190462"/>
                    </a:lnTo>
                    <a:cubicBezTo>
                      <a:pt x="87730" y="190462"/>
                      <a:pt x="66408" y="211785"/>
                      <a:pt x="66408" y="238087"/>
                    </a:cubicBezTo>
                    <a:lnTo>
                      <a:pt x="66408" y="257794"/>
                    </a:lnTo>
                    <a:cubicBezTo>
                      <a:pt x="24673" y="263207"/>
                      <a:pt x="-4772" y="301427"/>
                      <a:pt x="641" y="343162"/>
                    </a:cubicBezTo>
                    <a:cubicBezTo>
                      <a:pt x="5661" y="381868"/>
                      <a:pt x="39116" y="410523"/>
                      <a:pt x="78133" y="409537"/>
                    </a:cubicBezTo>
                    <a:close/>
                    <a:moveTo>
                      <a:pt x="75933" y="276187"/>
                    </a:moveTo>
                    <a:cubicBezTo>
                      <a:pt x="107496" y="276187"/>
                      <a:pt x="133083" y="301774"/>
                      <a:pt x="133083" y="333337"/>
                    </a:cubicBezTo>
                    <a:cubicBezTo>
                      <a:pt x="133083" y="364900"/>
                      <a:pt x="107496" y="390487"/>
                      <a:pt x="75933" y="390487"/>
                    </a:cubicBezTo>
                    <a:cubicBezTo>
                      <a:pt x="44370" y="390487"/>
                      <a:pt x="18783" y="364900"/>
                      <a:pt x="18783" y="333337"/>
                    </a:cubicBezTo>
                    <a:cubicBezTo>
                      <a:pt x="18820" y="301789"/>
                      <a:pt x="44385" y="276224"/>
                      <a:pt x="75933" y="2761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8BF310E-271C-0DE3-A5C6-92DA32031ADB}"/>
                  </a:ext>
                </a:extLst>
              </p:cNvPr>
              <p:cNvSpPr/>
              <p:nvPr/>
            </p:nvSpPr>
            <p:spPr>
              <a:xfrm>
                <a:off x="5800725" y="3124200"/>
                <a:ext cx="600075" cy="619125"/>
              </a:xfrm>
              <a:custGeom>
                <a:avLst/>
                <a:gdLst>
                  <a:gd name="connsiteX0" fmla="*/ 23355 w 600075"/>
                  <a:gd name="connsiteY0" fmla="*/ 457200 h 619125"/>
                  <a:gd name="connsiteX1" fmla="*/ 47625 w 600075"/>
                  <a:gd name="connsiteY1" fmla="*/ 457200 h 619125"/>
                  <a:gd name="connsiteX2" fmla="*/ 47625 w 600075"/>
                  <a:gd name="connsiteY2" fmla="*/ 533400 h 619125"/>
                  <a:gd name="connsiteX3" fmla="*/ 23355 w 600075"/>
                  <a:gd name="connsiteY3" fmla="*/ 533400 h 619125"/>
                  <a:gd name="connsiteX4" fmla="*/ 0 w 600075"/>
                  <a:gd name="connsiteY4" fmla="*/ 556755 h 619125"/>
                  <a:gd name="connsiteX5" fmla="*/ 0 w 600075"/>
                  <a:gd name="connsiteY5" fmla="*/ 558746 h 619125"/>
                  <a:gd name="connsiteX6" fmla="*/ 22279 w 600075"/>
                  <a:gd name="connsiteY6" fmla="*/ 581025 h 619125"/>
                  <a:gd name="connsiteX7" fmla="*/ 28575 w 600075"/>
                  <a:gd name="connsiteY7" fmla="*/ 581025 h 619125"/>
                  <a:gd name="connsiteX8" fmla="*/ 38100 w 600075"/>
                  <a:gd name="connsiteY8" fmla="*/ 571500 h 619125"/>
                  <a:gd name="connsiteX9" fmla="*/ 28575 w 600075"/>
                  <a:gd name="connsiteY9" fmla="*/ 561975 h 619125"/>
                  <a:gd name="connsiteX10" fmla="*/ 22279 w 600075"/>
                  <a:gd name="connsiteY10" fmla="*/ 561975 h 619125"/>
                  <a:gd name="connsiteX11" fmla="*/ 19050 w 600075"/>
                  <a:gd name="connsiteY11" fmla="*/ 558746 h 619125"/>
                  <a:gd name="connsiteX12" fmla="*/ 19050 w 600075"/>
                  <a:gd name="connsiteY12" fmla="*/ 556755 h 619125"/>
                  <a:gd name="connsiteX13" fmla="*/ 23355 w 600075"/>
                  <a:gd name="connsiteY13" fmla="*/ 552450 h 619125"/>
                  <a:gd name="connsiteX14" fmla="*/ 47625 w 600075"/>
                  <a:gd name="connsiteY14" fmla="*/ 552450 h 619125"/>
                  <a:gd name="connsiteX15" fmla="*/ 47625 w 600075"/>
                  <a:gd name="connsiteY15" fmla="*/ 609600 h 619125"/>
                  <a:gd name="connsiteX16" fmla="*/ 57150 w 600075"/>
                  <a:gd name="connsiteY16" fmla="*/ 619125 h 619125"/>
                  <a:gd name="connsiteX17" fmla="*/ 590550 w 600075"/>
                  <a:gd name="connsiteY17" fmla="*/ 619125 h 619125"/>
                  <a:gd name="connsiteX18" fmla="*/ 600075 w 600075"/>
                  <a:gd name="connsiteY18" fmla="*/ 609600 h 619125"/>
                  <a:gd name="connsiteX19" fmla="*/ 600075 w 600075"/>
                  <a:gd name="connsiteY19" fmla="*/ 9525 h 619125"/>
                  <a:gd name="connsiteX20" fmla="*/ 590550 w 600075"/>
                  <a:gd name="connsiteY20" fmla="*/ 0 h 619125"/>
                  <a:gd name="connsiteX21" fmla="*/ 57150 w 600075"/>
                  <a:gd name="connsiteY21" fmla="*/ 0 h 619125"/>
                  <a:gd name="connsiteX22" fmla="*/ 47625 w 600075"/>
                  <a:gd name="connsiteY22" fmla="*/ 9525 h 619125"/>
                  <a:gd name="connsiteX23" fmla="*/ 47625 w 600075"/>
                  <a:gd name="connsiteY23" fmla="*/ 57150 h 619125"/>
                  <a:gd name="connsiteX24" fmla="*/ 23355 w 600075"/>
                  <a:gd name="connsiteY24" fmla="*/ 57150 h 619125"/>
                  <a:gd name="connsiteX25" fmla="*/ 0 w 600075"/>
                  <a:gd name="connsiteY25" fmla="*/ 80505 h 619125"/>
                  <a:gd name="connsiteX26" fmla="*/ 0 w 600075"/>
                  <a:gd name="connsiteY26" fmla="*/ 82496 h 619125"/>
                  <a:gd name="connsiteX27" fmla="*/ 22279 w 600075"/>
                  <a:gd name="connsiteY27" fmla="*/ 104775 h 619125"/>
                  <a:gd name="connsiteX28" fmla="*/ 28575 w 600075"/>
                  <a:gd name="connsiteY28" fmla="*/ 104775 h 619125"/>
                  <a:gd name="connsiteX29" fmla="*/ 38100 w 600075"/>
                  <a:gd name="connsiteY29" fmla="*/ 95250 h 619125"/>
                  <a:gd name="connsiteX30" fmla="*/ 28575 w 600075"/>
                  <a:gd name="connsiteY30" fmla="*/ 85725 h 619125"/>
                  <a:gd name="connsiteX31" fmla="*/ 22279 w 600075"/>
                  <a:gd name="connsiteY31" fmla="*/ 85725 h 619125"/>
                  <a:gd name="connsiteX32" fmla="*/ 19050 w 600075"/>
                  <a:gd name="connsiteY32" fmla="*/ 82496 h 619125"/>
                  <a:gd name="connsiteX33" fmla="*/ 19050 w 600075"/>
                  <a:gd name="connsiteY33" fmla="*/ 80505 h 619125"/>
                  <a:gd name="connsiteX34" fmla="*/ 23355 w 600075"/>
                  <a:gd name="connsiteY34" fmla="*/ 76200 h 619125"/>
                  <a:gd name="connsiteX35" fmla="*/ 47625 w 600075"/>
                  <a:gd name="connsiteY35" fmla="*/ 76200 h 619125"/>
                  <a:gd name="connsiteX36" fmla="*/ 47625 w 600075"/>
                  <a:gd name="connsiteY36" fmla="*/ 152400 h 619125"/>
                  <a:gd name="connsiteX37" fmla="*/ 23355 w 600075"/>
                  <a:gd name="connsiteY37" fmla="*/ 152400 h 619125"/>
                  <a:gd name="connsiteX38" fmla="*/ 0 w 600075"/>
                  <a:gd name="connsiteY38" fmla="*/ 175755 h 619125"/>
                  <a:gd name="connsiteX39" fmla="*/ 0 w 600075"/>
                  <a:gd name="connsiteY39" fmla="*/ 177746 h 619125"/>
                  <a:gd name="connsiteX40" fmla="*/ 22279 w 600075"/>
                  <a:gd name="connsiteY40" fmla="*/ 200025 h 619125"/>
                  <a:gd name="connsiteX41" fmla="*/ 28575 w 600075"/>
                  <a:gd name="connsiteY41" fmla="*/ 200025 h 619125"/>
                  <a:gd name="connsiteX42" fmla="*/ 38100 w 600075"/>
                  <a:gd name="connsiteY42" fmla="*/ 190500 h 619125"/>
                  <a:gd name="connsiteX43" fmla="*/ 28575 w 600075"/>
                  <a:gd name="connsiteY43" fmla="*/ 180975 h 619125"/>
                  <a:gd name="connsiteX44" fmla="*/ 22279 w 600075"/>
                  <a:gd name="connsiteY44" fmla="*/ 180975 h 619125"/>
                  <a:gd name="connsiteX45" fmla="*/ 19050 w 600075"/>
                  <a:gd name="connsiteY45" fmla="*/ 177746 h 619125"/>
                  <a:gd name="connsiteX46" fmla="*/ 19050 w 600075"/>
                  <a:gd name="connsiteY46" fmla="*/ 175755 h 619125"/>
                  <a:gd name="connsiteX47" fmla="*/ 23355 w 600075"/>
                  <a:gd name="connsiteY47" fmla="*/ 171450 h 619125"/>
                  <a:gd name="connsiteX48" fmla="*/ 47625 w 600075"/>
                  <a:gd name="connsiteY48" fmla="*/ 171450 h 619125"/>
                  <a:gd name="connsiteX49" fmla="*/ 47625 w 600075"/>
                  <a:gd name="connsiteY49" fmla="*/ 247650 h 619125"/>
                  <a:gd name="connsiteX50" fmla="*/ 23355 w 600075"/>
                  <a:gd name="connsiteY50" fmla="*/ 247650 h 619125"/>
                  <a:gd name="connsiteX51" fmla="*/ 0 w 600075"/>
                  <a:gd name="connsiteY51" fmla="*/ 271005 h 619125"/>
                  <a:gd name="connsiteX52" fmla="*/ 0 w 600075"/>
                  <a:gd name="connsiteY52" fmla="*/ 272996 h 619125"/>
                  <a:gd name="connsiteX53" fmla="*/ 22279 w 600075"/>
                  <a:gd name="connsiteY53" fmla="*/ 295275 h 619125"/>
                  <a:gd name="connsiteX54" fmla="*/ 28575 w 600075"/>
                  <a:gd name="connsiteY54" fmla="*/ 295275 h 619125"/>
                  <a:gd name="connsiteX55" fmla="*/ 38100 w 600075"/>
                  <a:gd name="connsiteY55" fmla="*/ 285750 h 619125"/>
                  <a:gd name="connsiteX56" fmla="*/ 28575 w 600075"/>
                  <a:gd name="connsiteY56" fmla="*/ 276225 h 619125"/>
                  <a:gd name="connsiteX57" fmla="*/ 22279 w 600075"/>
                  <a:gd name="connsiteY57" fmla="*/ 276225 h 619125"/>
                  <a:gd name="connsiteX58" fmla="*/ 19050 w 600075"/>
                  <a:gd name="connsiteY58" fmla="*/ 272996 h 619125"/>
                  <a:gd name="connsiteX59" fmla="*/ 19050 w 600075"/>
                  <a:gd name="connsiteY59" fmla="*/ 271005 h 619125"/>
                  <a:gd name="connsiteX60" fmla="*/ 23355 w 600075"/>
                  <a:gd name="connsiteY60" fmla="*/ 266700 h 619125"/>
                  <a:gd name="connsiteX61" fmla="*/ 47625 w 600075"/>
                  <a:gd name="connsiteY61" fmla="*/ 266700 h 619125"/>
                  <a:gd name="connsiteX62" fmla="*/ 47625 w 600075"/>
                  <a:gd name="connsiteY62" fmla="*/ 342900 h 619125"/>
                  <a:gd name="connsiteX63" fmla="*/ 23355 w 600075"/>
                  <a:gd name="connsiteY63" fmla="*/ 342900 h 619125"/>
                  <a:gd name="connsiteX64" fmla="*/ 0 w 600075"/>
                  <a:gd name="connsiteY64" fmla="*/ 366255 h 619125"/>
                  <a:gd name="connsiteX65" fmla="*/ 0 w 600075"/>
                  <a:gd name="connsiteY65" fmla="*/ 368246 h 619125"/>
                  <a:gd name="connsiteX66" fmla="*/ 22279 w 600075"/>
                  <a:gd name="connsiteY66" fmla="*/ 390525 h 619125"/>
                  <a:gd name="connsiteX67" fmla="*/ 28575 w 600075"/>
                  <a:gd name="connsiteY67" fmla="*/ 390525 h 619125"/>
                  <a:gd name="connsiteX68" fmla="*/ 38100 w 600075"/>
                  <a:gd name="connsiteY68" fmla="*/ 381000 h 619125"/>
                  <a:gd name="connsiteX69" fmla="*/ 28575 w 600075"/>
                  <a:gd name="connsiteY69" fmla="*/ 371475 h 619125"/>
                  <a:gd name="connsiteX70" fmla="*/ 22279 w 600075"/>
                  <a:gd name="connsiteY70" fmla="*/ 371475 h 619125"/>
                  <a:gd name="connsiteX71" fmla="*/ 19050 w 600075"/>
                  <a:gd name="connsiteY71" fmla="*/ 368246 h 619125"/>
                  <a:gd name="connsiteX72" fmla="*/ 19050 w 600075"/>
                  <a:gd name="connsiteY72" fmla="*/ 366255 h 619125"/>
                  <a:gd name="connsiteX73" fmla="*/ 23355 w 600075"/>
                  <a:gd name="connsiteY73" fmla="*/ 361950 h 619125"/>
                  <a:gd name="connsiteX74" fmla="*/ 47625 w 600075"/>
                  <a:gd name="connsiteY74" fmla="*/ 361950 h 619125"/>
                  <a:gd name="connsiteX75" fmla="*/ 47625 w 600075"/>
                  <a:gd name="connsiteY75" fmla="*/ 438150 h 619125"/>
                  <a:gd name="connsiteX76" fmla="*/ 23355 w 600075"/>
                  <a:gd name="connsiteY76" fmla="*/ 438150 h 619125"/>
                  <a:gd name="connsiteX77" fmla="*/ 0 w 600075"/>
                  <a:gd name="connsiteY77" fmla="*/ 461505 h 619125"/>
                  <a:gd name="connsiteX78" fmla="*/ 0 w 600075"/>
                  <a:gd name="connsiteY78" fmla="*/ 463496 h 619125"/>
                  <a:gd name="connsiteX79" fmla="*/ 22279 w 600075"/>
                  <a:gd name="connsiteY79" fmla="*/ 485775 h 619125"/>
                  <a:gd name="connsiteX80" fmla="*/ 28575 w 600075"/>
                  <a:gd name="connsiteY80" fmla="*/ 485775 h 619125"/>
                  <a:gd name="connsiteX81" fmla="*/ 38100 w 600075"/>
                  <a:gd name="connsiteY81" fmla="*/ 476250 h 619125"/>
                  <a:gd name="connsiteX82" fmla="*/ 28575 w 600075"/>
                  <a:gd name="connsiteY82" fmla="*/ 466725 h 619125"/>
                  <a:gd name="connsiteX83" fmla="*/ 22279 w 600075"/>
                  <a:gd name="connsiteY83" fmla="*/ 466725 h 619125"/>
                  <a:gd name="connsiteX84" fmla="*/ 19050 w 600075"/>
                  <a:gd name="connsiteY84" fmla="*/ 463496 h 619125"/>
                  <a:gd name="connsiteX85" fmla="*/ 19050 w 600075"/>
                  <a:gd name="connsiteY85" fmla="*/ 461505 h 619125"/>
                  <a:gd name="connsiteX86" fmla="*/ 23355 w 600075"/>
                  <a:gd name="connsiteY86" fmla="*/ 457200 h 619125"/>
                  <a:gd name="connsiteX87" fmla="*/ 66675 w 600075"/>
                  <a:gd name="connsiteY87" fmla="*/ 19050 h 619125"/>
                  <a:gd name="connsiteX88" fmla="*/ 581025 w 600075"/>
                  <a:gd name="connsiteY88" fmla="*/ 19050 h 619125"/>
                  <a:gd name="connsiteX89" fmla="*/ 581025 w 600075"/>
                  <a:gd name="connsiteY89" fmla="*/ 600075 h 619125"/>
                  <a:gd name="connsiteX90" fmla="*/ 66675 w 600075"/>
                  <a:gd name="connsiteY90" fmla="*/ 600075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00075" h="619125">
                    <a:moveTo>
                      <a:pt x="23355" y="457200"/>
                    </a:moveTo>
                    <a:lnTo>
                      <a:pt x="47625" y="457200"/>
                    </a:lnTo>
                    <a:lnTo>
                      <a:pt x="47625" y="533400"/>
                    </a:lnTo>
                    <a:lnTo>
                      <a:pt x="23355" y="533400"/>
                    </a:lnTo>
                    <a:cubicBezTo>
                      <a:pt x="10463" y="533416"/>
                      <a:pt x="16" y="543863"/>
                      <a:pt x="0" y="556755"/>
                    </a:cubicBezTo>
                    <a:lnTo>
                      <a:pt x="0" y="558746"/>
                    </a:lnTo>
                    <a:cubicBezTo>
                      <a:pt x="10" y="571046"/>
                      <a:pt x="9979" y="581015"/>
                      <a:pt x="22279" y="581025"/>
                    </a:cubicBezTo>
                    <a:lnTo>
                      <a:pt x="28575" y="581025"/>
                    </a:lnTo>
                    <a:cubicBezTo>
                      <a:pt x="33836" y="581025"/>
                      <a:pt x="38100" y="576761"/>
                      <a:pt x="38100" y="571500"/>
                    </a:cubicBezTo>
                    <a:cubicBezTo>
                      <a:pt x="38100" y="566239"/>
                      <a:pt x="33836" y="561975"/>
                      <a:pt x="28575" y="561975"/>
                    </a:cubicBezTo>
                    <a:lnTo>
                      <a:pt x="22279" y="561975"/>
                    </a:lnTo>
                    <a:cubicBezTo>
                      <a:pt x="20496" y="561975"/>
                      <a:pt x="19050" y="560529"/>
                      <a:pt x="19050" y="558746"/>
                    </a:cubicBezTo>
                    <a:lnTo>
                      <a:pt x="19050" y="556755"/>
                    </a:lnTo>
                    <a:cubicBezTo>
                      <a:pt x="19055" y="554380"/>
                      <a:pt x="20980" y="552456"/>
                      <a:pt x="23355" y="552450"/>
                    </a:cubicBezTo>
                    <a:lnTo>
                      <a:pt x="47625" y="552450"/>
                    </a:lnTo>
                    <a:lnTo>
                      <a:pt x="47625" y="609600"/>
                    </a:lnTo>
                    <a:cubicBezTo>
                      <a:pt x="47625" y="614861"/>
                      <a:pt x="51889" y="619125"/>
                      <a:pt x="57150" y="619125"/>
                    </a:cubicBezTo>
                    <a:lnTo>
                      <a:pt x="590550" y="619125"/>
                    </a:lnTo>
                    <a:cubicBezTo>
                      <a:pt x="595811" y="619125"/>
                      <a:pt x="600075" y="614861"/>
                      <a:pt x="600075" y="609600"/>
                    </a:cubicBezTo>
                    <a:lnTo>
                      <a:pt x="600075" y="9525"/>
                    </a:lnTo>
                    <a:cubicBezTo>
                      <a:pt x="600075" y="4264"/>
                      <a:pt x="595811" y="0"/>
                      <a:pt x="590550" y="0"/>
                    </a:cubicBezTo>
                    <a:lnTo>
                      <a:pt x="57150" y="0"/>
                    </a:lnTo>
                    <a:cubicBezTo>
                      <a:pt x="51889" y="0"/>
                      <a:pt x="47625" y="4264"/>
                      <a:pt x="47625" y="9525"/>
                    </a:cubicBezTo>
                    <a:lnTo>
                      <a:pt x="47625" y="57150"/>
                    </a:lnTo>
                    <a:lnTo>
                      <a:pt x="23355" y="57150"/>
                    </a:lnTo>
                    <a:cubicBezTo>
                      <a:pt x="10463" y="57166"/>
                      <a:pt x="16" y="67613"/>
                      <a:pt x="0" y="80505"/>
                    </a:cubicBezTo>
                    <a:lnTo>
                      <a:pt x="0" y="82496"/>
                    </a:lnTo>
                    <a:cubicBezTo>
                      <a:pt x="10" y="94796"/>
                      <a:pt x="9979" y="104765"/>
                      <a:pt x="22279" y="104775"/>
                    </a:cubicBezTo>
                    <a:lnTo>
                      <a:pt x="28575" y="104775"/>
                    </a:lnTo>
                    <a:cubicBezTo>
                      <a:pt x="33836" y="104775"/>
                      <a:pt x="38100" y="100511"/>
                      <a:pt x="38100" y="95250"/>
                    </a:cubicBezTo>
                    <a:cubicBezTo>
                      <a:pt x="38100" y="89989"/>
                      <a:pt x="33836" y="85725"/>
                      <a:pt x="28575" y="85725"/>
                    </a:cubicBezTo>
                    <a:lnTo>
                      <a:pt x="22279" y="85725"/>
                    </a:lnTo>
                    <a:cubicBezTo>
                      <a:pt x="20496" y="85725"/>
                      <a:pt x="19050" y="84279"/>
                      <a:pt x="19050" y="82496"/>
                    </a:cubicBezTo>
                    <a:lnTo>
                      <a:pt x="19050" y="80505"/>
                    </a:lnTo>
                    <a:cubicBezTo>
                      <a:pt x="19055" y="78130"/>
                      <a:pt x="20980" y="76205"/>
                      <a:pt x="23355" y="76200"/>
                    </a:cubicBezTo>
                    <a:lnTo>
                      <a:pt x="47625" y="76200"/>
                    </a:lnTo>
                    <a:lnTo>
                      <a:pt x="47625" y="152400"/>
                    </a:lnTo>
                    <a:lnTo>
                      <a:pt x="23355" y="152400"/>
                    </a:lnTo>
                    <a:cubicBezTo>
                      <a:pt x="10463" y="152416"/>
                      <a:pt x="16" y="162863"/>
                      <a:pt x="0" y="175755"/>
                    </a:cubicBezTo>
                    <a:lnTo>
                      <a:pt x="0" y="177746"/>
                    </a:lnTo>
                    <a:cubicBezTo>
                      <a:pt x="10" y="190046"/>
                      <a:pt x="9979" y="200015"/>
                      <a:pt x="22279" y="200025"/>
                    </a:cubicBezTo>
                    <a:lnTo>
                      <a:pt x="28575" y="200025"/>
                    </a:lnTo>
                    <a:cubicBezTo>
                      <a:pt x="33836" y="200025"/>
                      <a:pt x="38100" y="195761"/>
                      <a:pt x="38100" y="190500"/>
                    </a:cubicBezTo>
                    <a:cubicBezTo>
                      <a:pt x="38100" y="185239"/>
                      <a:pt x="33836" y="180975"/>
                      <a:pt x="28575" y="180975"/>
                    </a:cubicBezTo>
                    <a:lnTo>
                      <a:pt x="22279" y="180975"/>
                    </a:lnTo>
                    <a:cubicBezTo>
                      <a:pt x="20496" y="180975"/>
                      <a:pt x="19050" y="179529"/>
                      <a:pt x="19050" y="177746"/>
                    </a:cubicBezTo>
                    <a:lnTo>
                      <a:pt x="19050" y="175755"/>
                    </a:lnTo>
                    <a:cubicBezTo>
                      <a:pt x="19055" y="173380"/>
                      <a:pt x="20980" y="171455"/>
                      <a:pt x="23355" y="171450"/>
                    </a:cubicBezTo>
                    <a:lnTo>
                      <a:pt x="47625" y="171450"/>
                    </a:lnTo>
                    <a:lnTo>
                      <a:pt x="47625" y="247650"/>
                    </a:lnTo>
                    <a:lnTo>
                      <a:pt x="23355" y="247650"/>
                    </a:lnTo>
                    <a:cubicBezTo>
                      <a:pt x="10463" y="247666"/>
                      <a:pt x="16" y="258113"/>
                      <a:pt x="0" y="271005"/>
                    </a:cubicBezTo>
                    <a:lnTo>
                      <a:pt x="0" y="272996"/>
                    </a:lnTo>
                    <a:cubicBezTo>
                      <a:pt x="10" y="285296"/>
                      <a:pt x="9979" y="295265"/>
                      <a:pt x="22279" y="295275"/>
                    </a:cubicBezTo>
                    <a:lnTo>
                      <a:pt x="28575" y="295275"/>
                    </a:lnTo>
                    <a:cubicBezTo>
                      <a:pt x="33836" y="295275"/>
                      <a:pt x="38100" y="291011"/>
                      <a:pt x="38100" y="285750"/>
                    </a:cubicBezTo>
                    <a:cubicBezTo>
                      <a:pt x="38100" y="280489"/>
                      <a:pt x="33836" y="276225"/>
                      <a:pt x="28575" y="276225"/>
                    </a:cubicBezTo>
                    <a:lnTo>
                      <a:pt x="22279" y="276225"/>
                    </a:lnTo>
                    <a:cubicBezTo>
                      <a:pt x="20496" y="276225"/>
                      <a:pt x="19050" y="274779"/>
                      <a:pt x="19050" y="272996"/>
                    </a:cubicBezTo>
                    <a:lnTo>
                      <a:pt x="19050" y="271005"/>
                    </a:lnTo>
                    <a:cubicBezTo>
                      <a:pt x="19055" y="268630"/>
                      <a:pt x="20980" y="266705"/>
                      <a:pt x="23355" y="266700"/>
                    </a:cubicBezTo>
                    <a:lnTo>
                      <a:pt x="47625" y="266700"/>
                    </a:lnTo>
                    <a:lnTo>
                      <a:pt x="47625" y="342900"/>
                    </a:lnTo>
                    <a:lnTo>
                      <a:pt x="23355" y="342900"/>
                    </a:lnTo>
                    <a:cubicBezTo>
                      <a:pt x="10463" y="342916"/>
                      <a:pt x="16" y="353363"/>
                      <a:pt x="0" y="366255"/>
                    </a:cubicBezTo>
                    <a:lnTo>
                      <a:pt x="0" y="368246"/>
                    </a:lnTo>
                    <a:cubicBezTo>
                      <a:pt x="10" y="380546"/>
                      <a:pt x="9979" y="390515"/>
                      <a:pt x="22279" y="390525"/>
                    </a:cubicBezTo>
                    <a:lnTo>
                      <a:pt x="28575" y="390525"/>
                    </a:lnTo>
                    <a:cubicBezTo>
                      <a:pt x="33836" y="390525"/>
                      <a:pt x="38100" y="386261"/>
                      <a:pt x="38100" y="381000"/>
                    </a:cubicBezTo>
                    <a:cubicBezTo>
                      <a:pt x="38100" y="375739"/>
                      <a:pt x="33836" y="371475"/>
                      <a:pt x="28575" y="371475"/>
                    </a:cubicBezTo>
                    <a:lnTo>
                      <a:pt x="22279" y="371475"/>
                    </a:lnTo>
                    <a:cubicBezTo>
                      <a:pt x="20496" y="371475"/>
                      <a:pt x="19050" y="370029"/>
                      <a:pt x="19050" y="368246"/>
                    </a:cubicBezTo>
                    <a:lnTo>
                      <a:pt x="19050" y="366255"/>
                    </a:lnTo>
                    <a:cubicBezTo>
                      <a:pt x="19055" y="363880"/>
                      <a:pt x="20980" y="361955"/>
                      <a:pt x="23355" y="361950"/>
                    </a:cubicBezTo>
                    <a:lnTo>
                      <a:pt x="47625" y="361950"/>
                    </a:lnTo>
                    <a:lnTo>
                      <a:pt x="47625" y="438150"/>
                    </a:lnTo>
                    <a:lnTo>
                      <a:pt x="23355" y="438150"/>
                    </a:lnTo>
                    <a:cubicBezTo>
                      <a:pt x="10463" y="438166"/>
                      <a:pt x="16" y="448613"/>
                      <a:pt x="0" y="461505"/>
                    </a:cubicBezTo>
                    <a:lnTo>
                      <a:pt x="0" y="463496"/>
                    </a:lnTo>
                    <a:cubicBezTo>
                      <a:pt x="10" y="475796"/>
                      <a:pt x="9979" y="485765"/>
                      <a:pt x="22279" y="485775"/>
                    </a:cubicBezTo>
                    <a:lnTo>
                      <a:pt x="28575" y="485775"/>
                    </a:lnTo>
                    <a:cubicBezTo>
                      <a:pt x="33836" y="485775"/>
                      <a:pt x="38100" y="481511"/>
                      <a:pt x="38100" y="476250"/>
                    </a:cubicBezTo>
                    <a:cubicBezTo>
                      <a:pt x="38100" y="470989"/>
                      <a:pt x="33836" y="466725"/>
                      <a:pt x="28575" y="466725"/>
                    </a:cubicBezTo>
                    <a:lnTo>
                      <a:pt x="22279" y="466725"/>
                    </a:lnTo>
                    <a:cubicBezTo>
                      <a:pt x="20496" y="466725"/>
                      <a:pt x="19050" y="465279"/>
                      <a:pt x="19050" y="463496"/>
                    </a:cubicBezTo>
                    <a:lnTo>
                      <a:pt x="19050" y="461505"/>
                    </a:lnTo>
                    <a:cubicBezTo>
                      <a:pt x="19055" y="459130"/>
                      <a:pt x="20980" y="457206"/>
                      <a:pt x="23355" y="457200"/>
                    </a:cubicBezTo>
                    <a:close/>
                    <a:moveTo>
                      <a:pt x="66675" y="19050"/>
                    </a:moveTo>
                    <a:lnTo>
                      <a:pt x="581025" y="19050"/>
                    </a:lnTo>
                    <a:lnTo>
                      <a:pt x="581025" y="600075"/>
                    </a:lnTo>
                    <a:lnTo>
                      <a:pt x="66675" y="6000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541B3C5-0601-6653-1358-0EE6F33E407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267388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1E2DF2-310A-B859-1CD2-BE081AF76B85}"/>
              </a:ext>
            </a:extLst>
          </p:cNvPr>
          <p:cNvSpPr/>
          <p:nvPr userDrawn="1"/>
        </p:nvSpPr>
        <p:spPr>
          <a:xfrm>
            <a:off x="7162801" y="1120307"/>
            <a:ext cx="4419600" cy="49857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5DEB308E-52E9-65FB-39A2-3E53FD6A68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</p:spTree>
    <p:extLst>
      <p:ext uri="{BB962C8B-B14F-4D97-AF65-F5344CB8AC3E}">
        <p14:creationId xmlns:p14="http://schemas.microsoft.com/office/powerpoint/2010/main" val="348376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uture Conside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84460-2E6B-57C3-4A1A-3DD22677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84460-2E6B-57C3-4A1A-3DD22677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81FF40AA-DA29-4214-9EF5-FE828C04A9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7A007-5B4A-4EF4-A9D8-A37381DD294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D521B3-D4AC-4931-5F2F-477B6B191603}"/>
              </a:ext>
            </a:extLst>
          </p:cNvPr>
          <p:cNvSpPr txBox="1"/>
          <p:nvPr userDrawn="1"/>
        </p:nvSpPr>
        <p:spPr>
          <a:xfrm>
            <a:off x="515869" y="145885"/>
            <a:ext cx="5525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Quick Wi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isa Dialect Regular"/>
                <a:ea typeface="+mn-ea"/>
                <a:cs typeface="+mn-cs"/>
              </a:rPr>
              <a:t> / Strategic Priority / </a:t>
            </a:r>
            <a:r>
              <a:rPr lang="en-US" sz="1000" kern="1200" noProof="0">
                <a:solidFill>
                  <a:schemeClr val="accent3"/>
                </a:solidFill>
                <a:latin typeface="Visa Dialect Semibold" pitchFamily="2" charset="0"/>
                <a:ea typeface="+mn-ea"/>
                <a:cs typeface="+mn-cs"/>
              </a:rPr>
              <a:t>Future Consideration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BAD59D84-744C-480C-92A8-2418F81104FF}"/>
              </a:ext>
            </a:extLst>
          </p:cNvPr>
          <p:cNvSpPr/>
          <p:nvPr userDrawn="1"/>
        </p:nvSpPr>
        <p:spPr bwMode="auto">
          <a:xfrm rot="5400000">
            <a:off x="-9145" y="-11017"/>
            <a:ext cx="457200" cy="457200"/>
          </a:xfrm>
          <a:prstGeom prst="rtTriangl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6799D28-B391-06B3-D24A-6F510AD847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0" y="6817"/>
            <a:ext cx="277813" cy="31115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8633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494433A-76E9-8548-6174-59B3F487B534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59541D2-D3AB-E249-69B1-709F596F2B2E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6A7E2A-ECEA-B51F-6CD5-31BC39D73144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1971F0C-31E3-7B28-0FC7-4BC642AFA4F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014876" y="6400799"/>
            <a:ext cx="567524" cy="94147"/>
          </a:xfrm>
        </p:spPr>
        <p:txBody>
          <a:bodyPr/>
          <a:lstStyle/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275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659210-753C-4957-8F25-A4D709FAB681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8DF06C-CFDC-2447-B7D4-E75EC0431F79}"/>
              </a:ext>
            </a:extLst>
          </p:cNvPr>
          <p:cNvCxnSpPr>
            <a:cxnSpLocks/>
          </p:cNvCxnSpPr>
          <p:nvPr userDrawn="1"/>
        </p:nvCxnSpPr>
        <p:spPr>
          <a:xfrm>
            <a:off x="60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1E348A8-D8AD-8342-95C4-1E731B229D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36295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BE5757E-813A-8F48-9A5A-EEC1071594D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452732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95C65A02-D19F-294F-BC73-89CD66DB23DC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269171" y="1848973"/>
            <a:ext cx="1219200" cy="1199027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0C183E4-86E4-6940-9A6D-E9DE7740EF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13310" y="3379809"/>
            <a:ext cx="340359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53ECD2BF-4248-F14F-AB63-732DFF2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8DA343F-1525-584F-88BA-86B0FE83B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E7EA97-253E-FB40-B94E-BE9389B08B5F}"/>
              </a:ext>
            </a:extLst>
          </p:cNvPr>
          <p:cNvCxnSpPr>
            <a:cxnSpLocks/>
          </p:cNvCxnSpPr>
          <p:nvPr userDrawn="1"/>
        </p:nvCxnSpPr>
        <p:spPr>
          <a:xfrm>
            <a:off x="44196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E90A3C5-FAC6-4A4A-B289-095811B7B144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23311" y="3379809"/>
            <a:ext cx="3349090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A926BB4-EEF2-5A49-844D-B93A3BB53E82}"/>
              </a:ext>
            </a:extLst>
          </p:cNvPr>
          <p:cNvCxnSpPr>
            <a:cxnSpLocks/>
          </p:cNvCxnSpPr>
          <p:nvPr userDrawn="1"/>
        </p:nvCxnSpPr>
        <p:spPr>
          <a:xfrm>
            <a:off x="8191500" y="3238500"/>
            <a:ext cx="34036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46288C4-4A89-B443-8199-6DBD23F67C2B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8195210" y="3379809"/>
            <a:ext cx="3399889" cy="263998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defRPr sz="13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300"/>
            </a:lvl2pPr>
            <a:lvl3pPr marL="174625" indent="-168275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29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300"/>
            </a:lvl5pPr>
            <a:lvl6pPr marL="685800" indent="-176213">
              <a:lnSpc>
                <a:spcPct val="100000"/>
              </a:lnSpc>
              <a:spcBef>
                <a:spcPts val="300"/>
              </a:spcBef>
              <a:tabLst/>
              <a:defRPr sz="13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D0F15B-D16C-1944-9EC2-DED14D92BD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556354-C575-3D39-E720-9EC4D7271D5A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49F064-1537-95FA-E41E-18BFE7E86770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0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784">
          <p15:clr>
            <a:srgbClr val="FBAE40"/>
          </p15:clr>
        </p15:guide>
        <p15:guide id="9" pos="2528">
          <p15:clr>
            <a:srgbClr val="FBAE40"/>
          </p15:clr>
        </p15:guide>
        <p15:guide id="10" pos="4896">
          <p15:clr>
            <a:srgbClr val="FBAE40"/>
          </p15:clr>
        </p15:guide>
        <p15:guide id="11" pos="5152">
          <p15:clr>
            <a:srgbClr val="FBAE40"/>
          </p15:clr>
        </p15:guide>
        <p15:guide id="12" orient="horz" pos="2040">
          <p15:clr>
            <a:srgbClr val="FBAE40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45697D-6B3B-45DA-A22A-44A4189FD9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652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45697D-6B3B-45DA-A22A-44A4189FD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square" lIns="0" tIns="0" rIns="0" bIns="9144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64FBC7-0348-4FCB-B4CC-B3EBB7834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A702D7AF-AB2C-1032-8B2B-5F3BAD1C75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CC49245-B4AA-0392-410B-631687CE0F48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E2C794-72C0-6563-F5D6-8FEEB8F1BE4C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997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E00F683-FF21-46E3-A68D-2D9DDBCFCA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56A1C5-73D4-4CC9-BF77-E43ED523EEA9}"/>
              </a:ext>
            </a:extLst>
          </p:cNvPr>
          <p:cNvSpPr txBox="1"/>
          <p:nvPr userDrawn="1"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E1288FC-A578-4C20-8663-165AE4153C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0" y="114300"/>
            <a:ext cx="5464884" cy="266700"/>
          </a:xfrm>
        </p:spPr>
        <p:txBody>
          <a:bodyPr anchor="ctr"/>
          <a:lstStyle>
            <a:lvl1pPr algn="r">
              <a:defRPr sz="1200" b="1" i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Page Flag</a:t>
            </a:r>
          </a:p>
        </p:txBody>
      </p:sp>
    </p:spTree>
    <p:extLst>
      <p:ext uri="{BB962C8B-B14F-4D97-AF65-F5344CB8AC3E}">
        <p14:creationId xmlns:p14="http://schemas.microsoft.com/office/powerpoint/2010/main" val="2495466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84262" y="6392946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 userDrawn="1"/>
        </p:nvSpPr>
        <p:spPr>
          <a:xfrm>
            <a:off x="11387579" y="658076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484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 userDrawn="1"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EF644C3-BD07-6F42-99C3-8410727AAF8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2819443"/>
            <a:ext cx="5283200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CDC8C9A-A5A1-DC44-9C5A-22CFBA39C58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48400" y="2819443"/>
            <a:ext cx="5334003" cy="3567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6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ED0B6DA-B1AD-8E4B-8D28-00B2D6352F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743455"/>
            <a:ext cx="5283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2A5599-054E-9A4C-941D-DEAF685255BE}"/>
              </a:ext>
            </a:extLst>
          </p:cNvPr>
          <p:cNvCxnSpPr>
            <a:cxnSpLocks/>
          </p:cNvCxnSpPr>
          <p:nvPr userDrawn="1"/>
        </p:nvCxnSpPr>
        <p:spPr>
          <a:xfrm>
            <a:off x="609601" y="2697685"/>
            <a:ext cx="530647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914B0B-B3F6-A24C-B306-C2DE3CCFF8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8400" y="1743455"/>
            <a:ext cx="53340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64FE3A-369E-0945-9952-79DE2D0CB498}"/>
              </a:ext>
            </a:extLst>
          </p:cNvPr>
          <p:cNvCxnSpPr>
            <a:cxnSpLocks/>
          </p:cNvCxnSpPr>
          <p:nvPr userDrawn="1"/>
        </p:nvCxnSpPr>
        <p:spPr>
          <a:xfrm>
            <a:off x="6248400" y="2697685"/>
            <a:ext cx="53340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28027102-0F0C-44D6-B79F-C9D54C4E64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687A00C-C9A6-DD42-9977-99993E7D4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398BA2-811F-1C41-BC08-078B116D4E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8E9757-427C-C249-9F47-223DCD7BF1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5C6B76-F1B3-4070-9AD9-721B1B3B1DD5}"/>
              </a:ext>
            </a:extLst>
          </p:cNvPr>
          <p:cNvSpPr txBox="1"/>
          <p:nvPr userDrawn="1"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3 Visa. All rights reserved. Visa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67C840-0571-4C02-AAFA-CE700D8B2679}"/>
              </a:ext>
            </a:extLst>
          </p:cNvPr>
          <p:cNvSpPr txBox="1"/>
          <p:nvPr userDrawn="1"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349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65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Right Thre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0AF7A3C-BA0F-9B49-B1B5-D713C19139C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248400" y="3308592"/>
            <a:ext cx="5346192" cy="2901702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1755EBA-80EC-6B4F-B350-DC2DD71209FC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09600" y="1600200"/>
            <a:ext cx="5283200" cy="4610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55C0536-27A6-644D-8348-9541070F401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48400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B3F5BBC4-47E5-1E46-9E4F-B0D0BB7BAB04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001094" y="457200"/>
            <a:ext cx="2600293" cy="2739711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38045DB-4C64-CE4D-B8E5-9949681D1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B569F93-B18A-C246-94EF-34A7D4EDD9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B82EFF1-330B-4836-903F-6A84270FD57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AEBFDC-B9B1-4244-8C0A-FB96B618CE19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804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85D5DE-277B-408A-91E7-362A2604D7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48400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48400" y="3308593"/>
            <a:ext cx="5346192" cy="2726853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A2E6023-8A40-1E44-BD81-EED366C9687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001094" y="1081613"/>
            <a:ext cx="2600293" cy="2115298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65C3A6A-0967-1E4F-8831-6EA71CD06F5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09600" y="1081613"/>
            <a:ext cx="5486399" cy="4953824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AB2697-2712-FE45-8DA0-EF63106E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69977AA-16BB-0C4F-A664-D6686D72F1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D48A80E-91B9-4883-AF18-8C7AA972CC5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51FBD82-9305-4AB9-A6F2-193572D1A7EC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623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0660FD2-464A-6F44-80A1-53A6D9C96D9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31890" y="-10673"/>
            <a:ext cx="4160109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FBB367A8-8DCC-6847-8D30-74516D9E043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031889" y="2390327"/>
            <a:ext cx="4160111" cy="2217426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32A0B33A-CF8B-1947-ACB2-AB69665D80A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-1" y="1380745"/>
            <a:ext cx="7303008" cy="5477257"/>
          </a:xfrm>
          <a:solidFill>
            <a:schemeClr val="tx2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ts val="192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Visa Dialect Regular" pitchFamily="2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DD1D1A5-5D9F-764D-A02B-21CB1442F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52832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F61E78-AFFB-F44B-BFDB-C2B5875FA0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52832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2D6F3F-2B06-47D0-B011-DEE222649B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84834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73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59DC62E-7380-5A49-8746-53EFA12DC6E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1" y="1600201"/>
            <a:ext cx="2946400" cy="36195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3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300"/>
              </a:spcBef>
              <a:defRPr sz="1400"/>
            </a:lvl3pPr>
            <a:lvl4pPr>
              <a:lnSpc>
                <a:spcPct val="100000"/>
              </a:lnSpc>
              <a:spcBef>
                <a:spcPts val="3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CFF718-B5F0-3D45-A03C-81D5E2147C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73689" y="2816352"/>
            <a:ext cx="7608711" cy="3124200"/>
          </a:xfrm>
        </p:spPr>
        <p:txBody>
          <a:bodyPr wrap="square" anchor="b" anchorCtr="0"/>
          <a:lstStyle>
            <a:lvl1pPr algn="r">
              <a:lnSpc>
                <a:spcPts val="18500"/>
              </a:lnSpc>
              <a:spcBef>
                <a:spcPts val="0"/>
              </a:spcBef>
              <a:defRPr sz="25000" b="0" i="0" kern="0" spc="-1000" baseline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52DD641-DB3B-6F45-8A70-05A6955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47253A-0C59-CE4B-BC84-E5D8D70636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E29E302-14CA-4A33-8BC5-EADF194EEDC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D0EDB8-48E0-4FEC-B6E9-1C2B14E7334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78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8" pos="2496">
          <p15:clr>
            <a:srgbClr val="FBAE40"/>
          </p15:clr>
        </p15:guide>
        <p15:guide id="9" pos="2240">
          <p15:clr>
            <a:srgbClr val="FBAE40"/>
          </p15:clr>
        </p15:guide>
        <p15:guide id="10" orient="horz" pos="32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0E12C26-1E94-CB42-8023-58210ADC5F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3FB5CC-A908-C349-A4A1-3544609E2C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8B5B4A7-F017-C24F-89BE-552CF18DD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F4E330-F8C7-B84B-AAAB-64D4D5BB75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9" name="Picture 18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FC0D15E3-B337-0549-B525-3F77087FC5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1405" y="208974"/>
            <a:ext cx="3774637" cy="664902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97C0451-24A4-DD41-B323-03E7C37034A9}"/>
              </a:ext>
            </a:extLst>
          </p:cNvPr>
          <p:cNvSpPr txBox="1"/>
          <p:nvPr/>
        </p:nvSpPr>
        <p:spPr>
          <a:xfrm>
            <a:off x="11398241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1F78A4-DBDB-4267-92AD-FFB06CFE32B1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1291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600201"/>
            <a:ext cx="5283200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7D909CE-D30F-4445-9B83-FD490780AD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" y="4745032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55C82F-13DC-204D-866F-573A53A30E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8400" y="4739396"/>
            <a:ext cx="53340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600201"/>
            <a:ext cx="5328355" cy="3031725"/>
          </a:xfrm>
        </p:spPr>
        <p:txBody>
          <a:bodyPr anchor="b" anchorCtr="0"/>
          <a:lstStyle>
            <a:lvl1pPr algn="l">
              <a:defRPr sz="138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75B0F87-EFC2-B148-AC62-E7EDC82B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63A11A-E0DC-C441-8C0C-0C92B7CC32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25A1AE-430C-4E3F-B4DA-89765ADCE84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9FBB5F-0912-4808-8F9B-FD48F34BDCF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172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ig Numb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CE0F2E-2714-4580-9DBC-755ECB7DE619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6F3E3-2327-DF48-9903-298980C91D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1" y="1331449"/>
            <a:ext cx="4462271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6130127-6898-FC43-A66E-AED6920558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045" y="133144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260A1A-688B-774C-903C-0A3A1228859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09600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BF07118-053B-414A-A34E-2E71FB891D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66688" y="245602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4995DE-D9B7-F74A-9A09-BC6B33E180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1" y="3663169"/>
            <a:ext cx="4462272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7435F2-C0C2-E842-AD20-5B59B875A8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4045" y="3663169"/>
            <a:ext cx="4474915" cy="1102341"/>
          </a:xfrm>
        </p:spPr>
        <p:txBody>
          <a:bodyPr anchor="b" anchorCtr="0"/>
          <a:lstStyle>
            <a:lvl1pPr algn="l">
              <a:defRPr sz="6600" b="0" i="0">
                <a:solidFill>
                  <a:schemeClr val="accent1"/>
                </a:solidFill>
                <a:latin typeface="Visa Dialect Medium" pitchFamily="2" charset="77"/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8CC7B25-E7E3-7A4F-9221-95D452FB9BF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9600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0496160-F36D-7148-9711-3D00BA6DF6B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66688" y="4787743"/>
            <a:ext cx="4462272" cy="96759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300"/>
            </a:lvl2pPr>
            <a:lvl3pPr marL="173736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3pPr>
            <a:lvl4pPr marL="347472" indent="-173736">
              <a:lnSpc>
                <a:spcPct val="100000"/>
              </a:lnSpc>
              <a:spcBef>
                <a:spcPts val="300"/>
              </a:spcBef>
              <a:tabLst/>
              <a:defRPr sz="13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850DE0C8-C2ED-EF4F-9321-CC3341907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291112C-9FF7-DE43-AF82-37C4452C4F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BD2D741-96EA-4B37-83EC-15456C8FA5B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9A304C-ACC3-4AE0-B235-3D60A506A86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973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6" pos="3712">
          <p15:clr>
            <a:srgbClr val="FBAE40"/>
          </p15:clr>
        </p15:guide>
        <p15:guide id="7" pos="393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04D166-4958-9349-BD73-4AD540758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0202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D914B-3AFE-47C3-BF0E-9F2857DB64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71465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936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a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E99A931-BFA9-5441-87EA-3CF04D142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02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CAB7F5-D1DD-4ABB-A139-2DA2612859D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53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  <p15:guide id="24" pos="340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2602" y="2091325"/>
            <a:ext cx="7906795" cy="267535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 algn="ctr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C96BA8FE-3771-B54A-859B-C75E4B870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303323"/>
            <a:ext cx="2934502" cy="164592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2EEAE64F-E79B-A540-A03C-DED1488A62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8749" y="4908758"/>
            <a:ext cx="2934502" cy="16459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7660CAB-0686-4EAF-A388-2D660A2D1D37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72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, icon, company name&#10;&#10;Description automatically generated">
            <a:extLst>
              <a:ext uri="{FF2B5EF4-FFF2-40B4-BE49-F238E27FC236}">
                <a16:creationId xmlns:a16="http://schemas.microsoft.com/office/drawing/2014/main" id="{7F5ACA36-7B90-4DAB-9853-21FD876EE1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591" y="282057"/>
            <a:ext cx="3260557" cy="1828800"/>
          </a:xfrm>
          <a:prstGeom prst="rect">
            <a:avLst/>
          </a:prstGeom>
        </p:spPr>
      </p:pic>
      <p:pic>
        <p:nvPicPr>
          <p:cNvPr id="11" name="Picture 10" descr="Logo, icon, company name&#10;&#10;Description automatically generated">
            <a:extLst>
              <a:ext uri="{FF2B5EF4-FFF2-40B4-BE49-F238E27FC236}">
                <a16:creationId xmlns:a16="http://schemas.microsoft.com/office/drawing/2014/main" id="{64E791DD-49B1-496A-A392-7FC776855F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6004" y="4725878"/>
            <a:ext cx="3260558" cy="1828800"/>
          </a:xfrm>
          <a:prstGeom prst="rect">
            <a:avLst/>
          </a:prstGeom>
        </p:spPr>
      </p:pic>
      <p:pic>
        <p:nvPicPr>
          <p:cNvPr id="12" name="Picture 11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51BF93FB-67CC-AB45-8F7F-896B8D199E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992" y="396682"/>
            <a:ext cx="3656002" cy="644005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489385-8E1D-F44F-AA67-025F1040A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05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173C11-BEDD-4F38-9CDB-31570967D1FB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6169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  <p15:guide id="13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B00F83-3660-194B-97E0-4599783E67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1BD6-5C0C-4CDA-94FE-9534E908DD60}"/>
              </a:ext>
            </a:extLst>
          </p:cNvPr>
          <p:cNvSpPr txBox="1"/>
          <p:nvPr/>
        </p:nvSpPr>
        <p:spPr>
          <a:xfrm>
            <a:off x="9386243" y="6533685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C31686-0601-49A1-A560-B36639F0D219}"/>
              </a:ext>
            </a:extLst>
          </p:cNvPr>
          <p:cNvSpPr txBox="1"/>
          <p:nvPr/>
        </p:nvSpPr>
        <p:spPr>
          <a:xfrm>
            <a:off x="11459886" y="653368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4F9840-9E8F-43BB-876D-6619929D9C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922" y="6427604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822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Phot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E62AD0-7492-9248-A420-17A8772399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381000"/>
            <a:ext cx="6172199" cy="3657600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345161-A988-430F-8F5D-2140002DC367}"/>
              </a:ext>
            </a:extLst>
          </p:cNvPr>
          <p:cNvSpPr txBox="1"/>
          <p:nvPr/>
        </p:nvSpPr>
        <p:spPr>
          <a:xfrm>
            <a:off x="9395505" y="65716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/>
                </a:solidFill>
              </a:rPr>
              <a:t>©2024 Visa. All rights reserved. Visa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D2F956-51D0-4CEA-A8C6-557C91248403}"/>
              </a:ext>
            </a:extLst>
          </p:cNvPr>
          <p:cNvSpPr txBox="1"/>
          <p:nvPr/>
        </p:nvSpPr>
        <p:spPr>
          <a:xfrm>
            <a:off x="11469148" y="65716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F408AB-69B0-441A-9B12-C7BA941530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84834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0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60168-E9D4-43FE-B7EF-C9BFE75D1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C9290-886E-4D7E-9009-0ACD4751EE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10" y="6471465"/>
            <a:ext cx="552780" cy="1791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8251ADD-3E47-407F-A1C2-B1307471FAF1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28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64CFA36-6835-0746-9840-0E0BCAB2C9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147" y="1600198"/>
            <a:ext cx="8155181" cy="3200400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86E6A59-D2EF-466D-A88F-3B7C0E9FCD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004" y="6495108"/>
            <a:ext cx="552780" cy="179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319F3C-F506-439F-A2AE-181BB7B75B58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964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FEC35DF-7B4B-3640-B202-6D0D3C8927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29A6456-0C45-5243-BC7D-3EBF863AF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AEB0D-D158-EE40-8A18-ED68A560B4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F67C15-23BB-C34D-984B-365C6144B8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1264048-8683-B04A-BE92-365764B75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6920" y="296944"/>
            <a:ext cx="3898532" cy="618005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64E4DA-CF8C-5245-BEE4-F59B1938DEC7}"/>
              </a:ext>
            </a:extLst>
          </p:cNvPr>
          <p:cNvSpPr txBox="1"/>
          <p:nvPr/>
        </p:nvSpPr>
        <p:spPr>
          <a:xfrm>
            <a:off x="11429064" y="6587710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6C8F39-AC74-4106-A1AE-01B8F6D9634C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88495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392F0-E107-2B46-833B-63CDC4C643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0886"/>
            <a:ext cx="12192000" cy="6858000"/>
          </a:xfrm>
          <a:noFill/>
        </p:spPr>
        <p:txBody>
          <a:bodyPr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E1D89F0-AB54-E544-B426-C59272FE4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611252"/>
            <a:ext cx="5784219" cy="1817748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2A3CB-66FF-49A9-9F83-DC384BD34AB6}"/>
              </a:ext>
            </a:extLst>
          </p:cNvPr>
          <p:cNvSpPr txBox="1"/>
          <p:nvPr/>
        </p:nvSpPr>
        <p:spPr>
          <a:xfrm>
            <a:off x="9314324" y="6525435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71590D-A924-4EC3-8C0E-CF38A11B8CCB}"/>
              </a:ext>
            </a:extLst>
          </p:cNvPr>
          <p:cNvSpPr txBox="1"/>
          <p:nvPr/>
        </p:nvSpPr>
        <p:spPr>
          <a:xfrm>
            <a:off x="11387967" y="6525434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01E167C1-AF1A-49C1-B2DA-711E50FCCA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209" y="6438667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881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A4E5295-54E4-5142-89B4-6296C4B8CF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8F4279-0F64-1745-A6B8-C2704BC5A301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-830952" y="457200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3AACBE6-E182-6345-AFB0-E51AFD9846EE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0741427" y="3920825"/>
            <a:ext cx="2286000" cy="2286000"/>
          </a:xfrm>
          <a:noFill/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284B4A-F3EF-48DB-B768-CE1306A5279A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413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10" orient="horz" pos="1008">
          <p15:clr>
            <a:srgbClr val="FBAE40"/>
          </p15:clr>
        </p15:guide>
        <p15:guide id="12" orient="horz" pos="158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 - Photo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F536B2A-9621-8D43-9647-6BD326BB0E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135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tx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F7283E-B18E-4891-9644-6A173F99F930}"/>
              </a:ext>
            </a:extLst>
          </p:cNvPr>
          <p:cNvSpPr txBox="1"/>
          <p:nvPr/>
        </p:nvSpPr>
        <p:spPr>
          <a:xfrm>
            <a:off x="9350396" y="6577470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6FC2312-8932-4742-9352-D9582897CC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87" y="6484834"/>
            <a:ext cx="552782" cy="1791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3CB8621-64B6-4F56-8633-4DF2DB899C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841583-D170-45C7-AB36-539B75AB3DB3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86917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D7751A-3D2C-4958-8F3D-7FD3A46C34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33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2" imgH="378" progId="TCLayout.ActiveDocument.1">
                  <p:embed/>
                </p:oleObj>
              </mc:Choice>
              <mc:Fallback>
                <p:oleObj name="think-cell Slide" r:id="rId3" imgW="382" imgH="3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8D7751A-3D2C-4958-8F3D-7FD3A46C3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2B55CED-442B-411B-B70F-3E692974BDC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F88834-189A-D744-A397-4BD9B873E9A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768C6C-CF58-204D-9B49-15E274BCF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5336" y="2313432"/>
            <a:ext cx="9109288" cy="1640335"/>
          </a:xfrm>
        </p:spPr>
        <p:txBody>
          <a:bodyPr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400" b="0" i="0">
                <a:solidFill>
                  <a:schemeClr val="bg1"/>
                </a:solidFill>
                <a:latin typeface="Visa Dialect Medium" pitchFamily="2" charset="77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D0776-1F23-4D62-9F8D-E0CA57957C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564" y="6490703"/>
            <a:ext cx="552780" cy="17910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05DEE2C-2E47-4811-B2C1-83816EAFDC1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840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001175-7075-1645-A2F8-5CFF254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098631"/>
            <a:ext cx="5486400" cy="255210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For more information, please contact: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7BDC76E-3EAD-FF42-A2C0-030580EC53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" y="4456611"/>
            <a:ext cx="5283200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1DD59B-560C-1E42-BC4F-D82BCCB9388E}"/>
              </a:ext>
            </a:extLst>
          </p:cNvPr>
          <p:cNvCxnSpPr>
            <a:cxnSpLocks/>
          </p:cNvCxnSpPr>
          <p:nvPr/>
        </p:nvCxnSpPr>
        <p:spPr>
          <a:xfrm>
            <a:off x="609600" y="4369549"/>
            <a:ext cx="5283200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38108E8-A91B-544B-AE58-E579F97F32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60494" y="4456611"/>
            <a:ext cx="5321905" cy="117281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3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300"/>
            </a:lvl3pPr>
            <a:lvl4pPr>
              <a:lnSpc>
                <a:spcPct val="100000"/>
              </a:lnSpc>
              <a:spcBef>
                <a:spcPts val="500"/>
              </a:spcBef>
              <a:defRPr sz="1200"/>
            </a:lvl4pPr>
            <a:lvl5pPr>
              <a:lnSpc>
                <a:spcPts val="1600"/>
              </a:lnSpc>
              <a:defRPr sz="1200"/>
            </a:lvl5pPr>
          </a:lstStyle>
          <a:p>
            <a:pPr lvl="0"/>
            <a:r>
              <a:rPr lang="en-US"/>
              <a:t>[</a:t>
            </a:r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r>
              <a:rPr lang="en-US"/>
              <a:t>]</a:t>
            </a:r>
          </a:p>
          <a:p>
            <a:pPr lvl="0"/>
            <a:endParaRPr lang="en-US"/>
          </a:p>
          <a:p>
            <a:pPr lvl="1"/>
            <a:r>
              <a:rPr lang="en-US"/>
              <a:t>[Title]</a:t>
            </a:r>
          </a:p>
          <a:p>
            <a:pPr lvl="1"/>
            <a:r>
              <a:rPr lang="en-US"/>
              <a:t>[</a:t>
            </a:r>
            <a:r>
              <a:rPr lang="en-US" err="1"/>
              <a:t>email@visa.com</a:t>
            </a:r>
            <a:r>
              <a:rPr lang="en-US"/>
              <a:t>]</a:t>
            </a:r>
          </a:p>
          <a:p>
            <a:pPr lvl="2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92F71DB-5BDC-4740-BCA4-437EB0A68AB1}"/>
              </a:ext>
            </a:extLst>
          </p:cNvPr>
          <p:cNvCxnSpPr>
            <a:cxnSpLocks/>
          </p:cNvCxnSpPr>
          <p:nvPr/>
        </p:nvCxnSpPr>
        <p:spPr>
          <a:xfrm>
            <a:off x="6260496" y="4369549"/>
            <a:ext cx="5321905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DC9CEBF-A997-3847-A730-F505EFD8210D}"/>
              </a:ext>
            </a:extLst>
          </p:cNvPr>
          <p:cNvSpPr txBox="1">
            <a:spLocks/>
          </p:cNvSpPr>
          <p:nvPr/>
        </p:nvSpPr>
        <p:spPr>
          <a:xfrm>
            <a:off x="609600" y="2335492"/>
            <a:ext cx="10972800" cy="1318883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Visa Dialect Medium" pitchFamily="2" charset="0"/>
                <a:ea typeface="+mj-ea"/>
                <a:cs typeface="+mj-cs"/>
              </a:defRPr>
            </a:lvl1pPr>
          </a:lstStyle>
          <a:p>
            <a:r>
              <a:rPr lang="en-US" sz="8000" spc="-150"/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3703EF-3215-7C4F-9099-263CB54403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13" name="Picture 12" descr="Background pattern, rectangle&#10;&#10;Description automatically generated">
            <a:extLst>
              <a:ext uri="{FF2B5EF4-FFF2-40B4-BE49-F238E27FC236}">
                <a16:creationId xmlns:a16="http://schemas.microsoft.com/office/drawing/2014/main" id="{1158DE16-2738-D94E-92CB-790882C8E9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76B1A94-9885-4083-B250-B2F8FCFE31F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082A17-3BF0-485D-AF74-856D945FE814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042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44">
          <p15:clr>
            <a:srgbClr val="FBAE40"/>
          </p15:clr>
        </p15:guide>
        <p15:guide id="15" pos="2176">
          <p15:clr>
            <a:srgbClr val="FBAE40"/>
          </p15:clr>
        </p15:guide>
        <p15:guide id="16" pos="3712">
          <p15:clr>
            <a:srgbClr val="FBAE40"/>
          </p15:clr>
        </p15:guide>
        <p15:guide id="17" pos="3936">
          <p15:clr>
            <a:srgbClr val="FBAE40"/>
          </p15:clr>
        </p15:guide>
        <p15:guide id="18" pos="5504">
          <p15:clr>
            <a:srgbClr val="FBAE40"/>
          </p15:clr>
        </p15:guide>
        <p15:guide id="19" pos="5728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orient="horz" pos="15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C35452-CE92-4041-B1AB-4652EFF98A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64EAB7-0C63-4110-AFD6-912C991E3C10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626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AF825AC-87A8-4DE1-883F-A7D4E837D1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4C178F04-8C13-4DD6-BAE5-DE0ED7BE49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09707"/>
            <a:ext cx="400139" cy="26729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D8F4C4-5704-49EA-A065-468B22A46110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140EB4-4115-462D-9E17-9AA6427C200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9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4C3246-B392-4150-9B5C-C1BCC3CEDE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711" y="6484834"/>
            <a:ext cx="552780" cy="17910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1DF0EB1-A487-43C2-9424-AE2D4457E7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1164" y="6386541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160B40-EE83-4F8F-B476-E4C1B82A5E06}"/>
              </a:ext>
            </a:extLst>
          </p:cNvPr>
          <p:cNvSpPr txBox="1"/>
          <p:nvPr/>
        </p:nvSpPr>
        <p:spPr>
          <a:xfrm>
            <a:off x="11387579" y="657747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42572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45919AD-36C2-4214-89C4-F6CAFE1A956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2163061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1">
            <a:extLst>
              <a:ext uri="{FF2B5EF4-FFF2-40B4-BE49-F238E27FC236}">
                <a16:creationId xmlns:a16="http://schemas.microsoft.com/office/drawing/2014/main" id="{0B54B57D-4A13-4469-9179-52A8E144AA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3889" y="949568"/>
            <a:ext cx="11256264" cy="381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189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377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566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754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5943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131" indent="0">
              <a:buNone/>
              <a:defRPr sz="2000" b="0">
                <a:solidFill>
                  <a:schemeClr val="accent3"/>
                </a:solidFill>
              </a:defRPr>
            </a:lvl7pPr>
            <a:lvl8pPr marL="3200320" indent="0">
              <a:buNone/>
              <a:defRPr sz="2000" b="0">
                <a:solidFill>
                  <a:schemeClr val="accent3"/>
                </a:solidFill>
              </a:defRPr>
            </a:lvl8pPr>
            <a:lvl9pPr marL="3657509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628D21B3-040C-4CBB-8CCC-7D82038B373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34431" y="6407558"/>
            <a:ext cx="7205472" cy="96951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 b="0">
                <a:solidFill>
                  <a:schemeClr val="bg2"/>
                </a:solidFill>
              </a:defRPr>
            </a:lvl1pPr>
            <a:lvl2pPr marL="457189" indent="0">
              <a:spcBef>
                <a:spcPts val="0"/>
              </a:spcBef>
              <a:spcAft>
                <a:spcPts val="0"/>
              </a:spcAft>
              <a:buNone/>
              <a:defRPr sz="2000" b="0"/>
            </a:lvl2pPr>
            <a:lvl3pPr marL="914377" indent="0">
              <a:spcBef>
                <a:spcPts val="0"/>
              </a:spcBef>
              <a:spcAft>
                <a:spcPts val="0"/>
              </a:spcAft>
              <a:buNone/>
              <a:defRPr sz="2000" b="0"/>
            </a:lvl3pPr>
            <a:lvl4pPr marL="1371566" indent="0">
              <a:spcBef>
                <a:spcPts val="0"/>
              </a:spcBef>
              <a:spcAft>
                <a:spcPts val="0"/>
              </a:spcAft>
              <a:buNone/>
              <a:defRPr sz="2000" b="0"/>
            </a:lvl4pPr>
            <a:lvl5pPr marL="1828754" indent="0">
              <a:spcBef>
                <a:spcPts val="0"/>
              </a:spcBef>
              <a:buNone/>
              <a:defRPr sz="2000" b="0">
                <a:solidFill>
                  <a:srgbClr val="5D5D5D"/>
                </a:solidFill>
              </a:defRPr>
            </a:lvl5pPr>
            <a:lvl6pPr marL="2285943" indent="0">
              <a:lnSpc>
                <a:spcPct val="90000"/>
              </a:lnSpc>
              <a:buNone/>
              <a:defRPr sz="2000" b="0">
                <a:solidFill>
                  <a:schemeClr val="accent3"/>
                </a:solidFill>
              </a:defRPr>
            </a:lvl6pPr>
            <a:lvl7pPr marL="2743131" indent="0">
              <a:buNone/>
              <a:defRPr sz="2000" b="0">
                <a:solidFill>
                  <a:schemeClr val="accent3"/>
                </a:solidFill>
              </a:defRPr>
            </a:lvl7pPr>
            <a:lvl8pPr marL="3200320" indent="0">
              <a:buNone/>
              <a:defRPr sz="2000" b="0">
                <a:solidFill>
                  <a:schemeClr val="accent3"/>
                </a:solidFill>
              </a:defRPr>
            </a:lvl8pPr>
            <a:lvl9pPr marL="3657509" indent="0">
              <a:buNone/>
              <a:defRPr sz="20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A50C72-D301-4FC2-BC5E-4F3DA903A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89" y="433114"/>
            <a:ext cx="11256264" cy="535531"/>
          </a:xfrm>
        </p:spPr>
        <p:txBody>
          <a:bodyPr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0496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439700" y="6577912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84396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Illustrati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3ECA35-97E8-4DCF-907B-3F11F81B7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37D2B1-9445-4B46-BCC0-13522127A44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F60614-1C12-1741-A75D-F49180AE41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980B98-A2F2-104F-B1F3-4969CC3C5A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4240" y="2776810"/>
            <a:ext cx="4431429" cy="32993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357C8-B922-3249-B406-2A87063BEAF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036C4-4AB5-0D48-879C-1662110ED0D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200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Dark Phot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8AFEF0-CB40-4365-A775-D6F2BB16FA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"/>
          <a:stretch/>
        </p:blipFill>
        <p:spPr>
          <a:xfrm>
            <a:off x="0" y="693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EC1F21-AAC7-8A41-9558-DBE34F21E8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FB0E0BF-8F1B-C647-A3D3-2167637E4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401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63D750A-F4C0-194B-A4D8-5A5E6C4DEE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400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7" name="Picture 6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058CA6E-5F4B-F941-BD6B-E82D893B12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C5AB2C-D691-9849-BDBB-E7E6DFBD91C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1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B3BF8-5AE5-EB46-8B57-998DACED1EF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1"/>
                </a:solidFill>
              </a:rPr>
              <a:pPr algn="r"/>
              <a:t>‹#›</a:t>
            </a:fld>
            <a:endParaRPr lang="en-US" sz="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524063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876AED2-1CFF-4BDE-9E1E-69CBC3EB0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15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848DAD-A1C5-BA4C-9B67-B4FD8714D28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7F36E9A5-B20B-9240-BE59-A48AFE097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4173" y="1610833"/>
            <a:ext cx="5481827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856474F-DB99-E44D-BFE6-6C67698BAD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4173" y="2647860"/>
            <a:ext cx="5481826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03B21D41-9026-49AE-9F0C-C3635D68359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560AEA-675B-0747-9C5B-DBF5C5D4574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5C2A6-77D3-EE48-B7DC-5AD197DBE1D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69309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Animated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0FA535-D4AF-42CF-9E01-4C837F26F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14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2" imgH="378" progId="TCLayout.ActiveDocument.1">
                  <p:embed/>
                </p:oleObj>
              </mc:Choice>
              <mc:Fallback>
                <p:oleObj name="think-cell Slide" r:id="rId5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0FA535-D4AF-42CF-9E01-4C837F26F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A6D42A5-3782-4C2C-9F77-15CD87FBF908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ver animation" descr="Cover animation">
            <a:extLst>
              <a:ext uri="{FF2B5EF4-FFF2-40B4-BE49-F238E27FC236}">
                <a16:creationId xmlns:a16="http://schemas.microsoft.com/office/drawing/2014/main" id="{7FC1DE2B-DAD6-47AB-9CB9-E8506337D6A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522783" y="0"/>
            <a:ext cx="5669217" cy="682391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F72CCA6-9EE3-C247-B43B-2AA3A4865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92D8FE-1B47-1448-BFAB-BD805161A9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9F79052-C88A-1048-8CED-1033FB84B14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8" name="Picture 7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D388E55-55D7-5C40-ADE9-5CEA3FE422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10300"/>
            <a:ext cx="400139" cy="2672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99D746-2464-FD49-84E3-654E4F57AC0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86940F-7C28-224B-98AB-1812886ABDC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168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0E12C26-1E94-CB42-8023-58210ADC5F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3FB5CC-A908-C349-A4A1-3544609E2C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8B5B4A7-F017-C24F-89BE-552CF18DD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F4E330-F8C7-B84B-AAAB-64D4D5BB75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9" name="Picture 18" descr="A person wearing a hat&#10;&#10;Description automatically generated with low confidence">
            <a:extLst>
              <a:ext uri="{FF2B5EF4-FFF2-40B4-BE49-F238E27FC236}">
                <a16:creationId xmlns:a16="http://schemas.microsoft.com/office/drawing/2014/main" id="{FC0D15E3-B337-0549-B525-3F77087FC5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1405" y="208974"/>
            <a:ext cx="3774637" cy="664902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070F02-578B-3443-B637-00D27509AA5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7C0451-24A4-DD41-B323-03E7C37034A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1F78A4-DBDB-4267-92AD-FFB06CFE32B1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9638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Background pattern, rectangle&#10;&#10;Description automatically generated">
            <a:extLst>
              <a:ext uri="{FF2B5EF4-FFF2-40B4-BE49-F238E27FC236}">
                <a16:creationId xmlns:a16="http://schemas.microsoft.com/office/drawing/2014/main" id="{BFEC35DF-7B4B-3640-B202-6D0D3C8927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29A6456-0C45-5243-BC7D-3EBF863AF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AEB0D-D158-EE40-8A18-ED68A560B4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F67C15-23BB-C34D-984B-365C6144B8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1264048-8683-B04A-BE92-365764B75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6920" y="296944"/>
            <a:ext cx="3898532" cy="61800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2F55B74-8AE2-2F4C-A8CC-7002F18140F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64E4DA-CF8C-5245-BEE4-F59B1938DEC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6C8F39-AC74-4106-A1AE-01B8F6D9634C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12474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Cut Out Phot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ackground pattern, rectangle&#10;&#10;Description automatically generated">
            <a:extLst>
              <a:ext uri="{FF2B5EF4-FFF2-40B4-BE49-F238E27FC236}">
                <a16:creationId xmlns:a16="http://schemas.microsoft.com/office/drawing/2014/main" id="{E8930F7D-FC4C-B545-BF55-6C2F96ED1D7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1776" y="1610833"/>
            <a:ext cx="4163676" cy="2781331"/>
          </a:xfrm>
          <a:prstGeom prst="rect">
            <a:avLst/>
          </a:prstGeom>
        </p:spPr>
      </p:pic>
      <p:pic>
        <p:nvPicPr>
          <p:cNvPr id="22" name="Picture 21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7CF29D7B-D274-A24D-9456-1D142F993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1528" y="734453"/>
            <a:ext cx="3702286" cy="6123547"/>
          </a:xfrm>
          <a:prstGeom prst="rect">
            <a:avLst/>
          </a:prstGeom>
        </p:spPr>
      </p:pic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B0D38C-5191-2A46-A65F-EB152D0E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10833"/>
            <a:ext cx="5486400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FAD9EF4-BFE4-544D-89ED-637CA0828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2647860"/>
            <a:ext cx="5486399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F24CA7-7CB8-2447-9C3C-B88313F9FB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3" y="385590"/>
            <a:ext cx="836212" cy="270932"/>
          </a:xfrm>
          <a:prstGeom prst="rect">
            <a:avLst/>
          </a:prstGeom>
        </p:spPr>
      </p:pic>
      <p:pic>
        <p:nvPicPr>
          <p:cNvPr id="23" name="Picture 22" descr="A picture containing person, dog&#10;&#10;Description automatically generated">
            <a:extLst>
              <a:ext uri="{FF2B5EF4-FFF2-40B4-BE49-F238E27FC236}">
                <a16:creationId xmlns:a16="http://schemas.microsoft.com/office/drawing/2014/main" id="{30F7D106-CE35-E242-B8C0-5B06D3A2CE6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833" y="3909462"/>
            <a:ext cx="2726676" cy="27813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094A0A-76A3-1B45-9EF1-EF4320A30CC7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4E884-A953-F146-98F1-8B4C5B6833E5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DEAE8-4A72-4BCE-B4E2-12326ADEF205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23304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3708F72-9177-1C4A-B014-F0C6B19AB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C3D2448-008D-704E-B888-D8E863B403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3EB1792-DD80-214E-9375-EE70AE1BB6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6F69B3-EAF8-AD4A-A506-57425CC3FBBF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D4F06E-0767-9446-A975-422A8E49DAA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B89775-FC9C-4A6C-8F15-A47A5CCABCA3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6352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319C69-C7DB-B842-A288-4B78C966A26E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990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FAEF6FF-624F-F941-8333-F016E751B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27E99B-5241-0942-B27C-8DC37A0E3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F6A2D3-237C-B142-BB6C-D1D674B692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E83F0A4-A2E0-234F-9735-E801C5099329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5DD0A7-9B3F-B445-B3E3-DCBA18FD69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790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­ - L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3708F72-9177-1C4A-B014-F0C6B19AB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1610833"/>
            <a:ext cx="5486399" cy="889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 with up to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C3D2448-008D-704E-B888-D8E863B403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3EB1792-DD80-214E-9375-EE70AE1BB6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4D4F06E-0767-9446-A975-422A8E49DAA1}"/>
              </a:ext>
            </a:extLst>
          </p:cNvPr>
          <p:cNvSpPr txBox="1"/>
          <p:nvPr/>
        </p:nvSpPr>
        <p:spPr>
          <a:xfrm>
            <a:off x="11377692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B89775-FC9C-4A6C-8F15-A47A5CCABCA3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44150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VBM+Symb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53EF4D2-FA1F-824F-9159-013422D09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accent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0E9125-603C-FE4B-9FE5-B2CDA2CFBD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5FF374-CE84-874F-AD2F-DEC1ADE14B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526" y="385590"/>
            <a:ext cx="836212" cy="2709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F52965-CEEE-2C41-AD99-92F2BDAE802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E4A174-513B-AF43-8972-1BF7BACDE2E4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533885-FB97-4BC6-993A-9DC5563047FB}"/>
              </a:ext>
            </a:extLst>
          </p:cNvPr>
          <p:cNvSpPr/>
          <p:nvPr/>
        </p:nvSpPr>
        <p:spPr>
          <a:xfrm>
            <a:off x="534954" y="6210300"/>
            <a:ext cx="627274" cy="27093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48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B023C5D-F5CC-44FA-834F-43851B9A10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E40-5826-477B-BEEF-B50E81BADC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67214"/>
            <a:ext cx="247828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3463FD-6F8E-41D2-B867-102704C5E9FC}"/>
              </a:ext>
            </a:extLst>
          </p:cNvPr>
          <p:cNvCxnSpPr>
            <a:cxnSpLocks/>
          </p:cNvCxnSpPr>
          <p:nvPr/>
        </p:nvCxnSpPr>
        <p:spPr>
          <a:xfrm>
            <a:off x="6096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843B257-7F12-4633-9525-3B6D2C5C2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4400" y="1567214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84D96D-3DE4-40B0-90D8-B5918CF1D0E8}"/>
              </a:ext>
            </a:extLst>
          </p:cNvPr>
          <p:cNvCxnSpPr>
            <a:cxnSpLocks/>
          </p:cNvCxnSpPr>
          <p:nvPr/>
        </p:nvCxnSpPr>
        <p:spPr>
          <a:xfrm>
            <a:off x="3454400" y="2521444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5176D7D-6355-4FF3-9137-FC5B3D8B65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426" y="1567214"/>
            <a:ext cx="2489197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7B4ED28-009B-4D27-8603-E737D3353D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93200" y="1567214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F40EFA-7CFE-412F-9670-84A0FD0AAAD2}"/>
              </a:ext>
            </a:extLst>
          </p:cNvPr>
          <p:cNvCxnSpPr>
            <a:cxnSpLocks/>
          </p:cNvCxnSpPr>
          <p:nvPr/>
        </p:nvCxnSpPr>
        <p:spPr>
          <a:xfrm>
            <a:off x="9093200" y="2521444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EAEBC3-D403-4863-B94C-5BA28D11A2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0BF9787-757D-4D4A-9D39-36E4F20150F8}"/>
              </a:ext>
            </a:extLst>
          </p:cNvPr>
          <p:cNvCxnSpPr>
            <a:cxnSpLocks/>
          </p:cNvCxnSpPr>
          <p:nvPr/>
        </p:nvCxnSpPr>
        <p:spPr>
          <a:xfrm>
            <a:off x="6096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39AED03-861E-49F5-9486-9875D7F325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54400" y="3962591"/>
            <a:ext cx="24384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A4D639-35EE-4A75-9D5D-F5D68D810241}"/>
              </a:ext>
            </a:extLst>
          </p:cNvPr>
          <p:cNvCxnSpPr>
            <a:cxnSpLocks/>
          </p:cNvCxnSpPr>
          <p:nvPr/>
        </p:nvCxnSpPr>
        <p:spPr>
          <a:xfrm>
            <a:off x="3454400" y="4916821"/>
            <a:ext cx="24384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191B399-15E8-4E18-95CE-9D88E07F66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23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BE4E74-7BEC-498B-AB83-0C7C20ED890A}"/>
              </a:ext>
            </a:extLst>
          </p:cNvPr>
          <p:cNvCxnSpPr>
            <a:cxnSpLocks/>
          </p:cNvCxnSpPr>
          <p:nvPr/>
        </p:nvCxnSpPr>
        <p:spPr>
          <a:xfrm>
            <a:off x="6295423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92CC6EC-3B35-4B15-8ECF-71827B4F79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3200" y="3962591"/>
            <a:ext cx="2489200" cy="8810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8000"/>
              </a:lnSpc>
              <a:defRPr sz="8000">
                <a:solidFill>
                  <a:schemeClr val="accent2"/>
                </a:solidFill>
                <a:latin typeface="Visa Dialect Medium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28FED9-B6B8-4348-BFC2-E292A6FB0FCF}"/>
              </a:ext>
            </a:extLst>
          </p:cNvPr>
          <p:cNvCxnSpPr>
            <a:cxnSpLocks/>
          </p:cNvCxnSpPr>
          <p:nvPr/>
        </p:nvCxnSpPr>
        <p:spPr>
          <a:xfrm>
            <a:off x="9093200" y="4916821"/>
            <a:ext cx="24892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11899807-858E-4003-8BDF-4015E542845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609600" y="2643202"/>
            <a:ext cx="247828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8713D4C8-925C-4E15-9DF9-AB425817C32B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454400" y="2643208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7EDB3C1E-C224-4411-B608-25ABA2658B70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6295426" y="2643202"/>
            <a:ext cx="2489197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601DD3FF-8D08-49F7-97A5-81CD5390891E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9093200" y="2643202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E6F0E1CC-E3A5-476C-B9BD-8E55B73C91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09600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6CA859C0-8CC8-4AD9-A9BC-64F1FC91D711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454400" y="5024160"/>
            <a:ext cx="24384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BBD7B664-2D47-45FC-8170-499D24E52CD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295423" y="5024154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C76208B-5543-46CF-A9E2-FACFA2214379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9089423" y="5007399"/>
            <a:ext cx="2489200" cy="78579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5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1B229B7-1E51-4DB5-8A87-EA006CA75597}"/>
              </a:ext>
            </a:extLst>
          </p:cNvPr>
          <p:cNvCxnSpPr>
            <a:cxnSpLocks/>
          </p:cNvCxnSpPr>
          <p:nvPr/>
        </p:nvCxnSpPr>
        <p:spPr>
          <a:xfrm>
            <a:off x="6295426" y="2521444"/>
            <a:ext cx="248919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076AD15-8A80-4D5C-99D2-930048D9981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CA210-CD82-4973-86C5-C81EDE5EA83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877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14" pos="1952">
          <p15:clr>
            <a:srgbClr val="FBAE40"/>
          </p15:clr>
        </p15:guide>
        <p15:guide id="15" pos="2184">
          <p15:clr>
            <a:srgbClr val="FBAE40"/>
          </p15:clr>
        </p15:guide>
        <p15:guide id="16" pos="3744">
          <p15:clr>
            <a:srgbClr val="FBAE40"/>
          </p15:clr>
        </p15:guide>
        <p15:guide id="17" pos="3960">
          <p15:clr>
            <a:srgbClr val="FBAE40"/>
          </p15:clr>
        </p15:guide>
        <p15:guide id="18" pos="5520">
          <p15:clr>
            <a:srgbClr val="FBAE40"/>
          </p15:clr>
        </p15:guide>
        <p15:guide id="19" pos="5736">
          <p15:clr>
            <a:srgbClr val="FBAE40"/>
          </p15:clr>
        </p15:guide>
        <p15:guide id="20" orient="horz" pos="100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B01A99-F0E4-4F6A-9814-CECDD9DC96F6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8B7B0-D097-7C40-B18F-DF9854A1F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600200"/>
            <a:ext cx="8155179" cy="3714750"/>
          </a:xfr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Visa Dialect Regular 18pt</a:t>
            </a:r>
          </a:p>
          <a:p>
            <a:pPr lvl="0"/>
            <a:r>
              <a:rPr lang="en-US"/>
              <a:t>Items are automatically numbered</a:t>
            </a:r>
          </a:p>
          <a:p>
            <a:pPr lvl="0"/>
            <a:r>
              <a:rPr lang="en-US"/>
              <a:t>If needed, use the Numbering button on the Home tab to turn off numbers.</a:t>
            </a:r>
          </a:p>
          <a:p>
            <a:pPr lvl="0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51B0AD-0CB2-A048-A80E-79B8AB9DC5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71579"/>
            <a:ext cx="10972800" cy="369561"/>
          </a:xfrm>
          <a:prstGeom prst="rect">
            <a:avLst/>
          </a:prstGeom>
        </p:spPr>
        <p:txBody>
          <a:bodyPr vert="horz" lIns="0" tIns="0" rIns="0" bIns="91440" rtlCol="0" anchor="t" anchorCtr="0">
            <a:normAutofit/>
          </a:bodyPr>
          <a:lstStyle>
            <a:lvl1pPr>
              <a:defRPr sz="2000"/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02A4BD-9D83-44B2-ACE3-88F0098F377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D9AF42-CC7A-4B9F-B211-4FF9B1A9EA79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" name="Rectangle 82">
            <a:extLst>
              <a:ext uri="{FF2B5EF4-FFF2-40B4-BE49-F238E27FC236}">
                <a16:creationId xmlns:a16="http://schemas.microsoft.com/office/drawing/2014/main" id="{322C608D-B61C-354C-133D-0F9920245B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E74C54A-B72F-9C81-6973-8E129F45E2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433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orient="horz" pos="2160">
          <p15:clr>
            <a:srgbClr val="FBAE40"/>
          </p15:clr>
        </p15:guide>
        <p15:guide id="12" pos="384">
          <p15:clr>
            <a:srgbClr val="FBAE40"/>
          </p15:clr>
        </p15:guide>
        <p15:guide id="13" pos="7296">
          <p15:clr>
            <a:srgbClr val="FBAE40"/>
          </p15:clr>
        </p15:guide>
        <p15:guide id="20" orient="horz" pos="1008">
          <p15:clr>
            <a:srgbClr val="FBAE40"/>
          </p15:clr>
        </p15:guide>
        <p15:guide id="21" pos="5520">
          <p15:clr>
            <a:srgbClr val="FBAE40"/>
          </p15:clr>
        </p15:guide>
        <p15:guide id="22" pos="57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796B2-E9E7-4A1D-AD60-1EB8C21CF2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B3BD4A8-0E52-4FFD-81E5-4667BBF1EF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95E950-296F-E542-B8F2-E86E8C26F9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341839-DFD3-DC46-B0B1-748514F6A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1E25E2-478B-4A61-B489-BCCB76E32FA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D9929F-8F44-4512-A3C5-4A94AA39173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058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8A5BA51-F084-46F7-93C2-7B53463A69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8FFAC3C-0074-FE4C-A801-A8774F5415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A814F0-7225-EE49-AEEB-8D88CDE9E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8E4219-BF8A-EF4A-A133-8697CB3D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DDFC30-4C35-4FFE-B78F-CC6778ACBCB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D936E-64AB-439B-98BB-2235A783FB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697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19E6CA2-344D-4DE3-AED7-2763D00E6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B45E48-5A8A-7C43-968E-E1237A2CF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458D01-2E76-4D49-95E3-8329F9C32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821AC90-4858-944A-AAA3-8FB5B5B21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1F327F-1FC5-4766-BD46-CC371BD2A4C4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564589-4D8E-4B07-B6EF-C13FC69FF1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6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0CB6150-C0E7-4A2D-82C2-2A7C8BF43AD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CB1B974-08D3-AB49-86CE-CCE82104A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FFAE56-C962-6C4A-AD68-F109E1F4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67E79CE-AD17-A442-A7EE-EEA5858FBA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4241A-A15C-479B-B2A0-F40EAD45853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CD241-C7A6-4F00-9726-06138E6089B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550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BAF715-EBE8-446C-91FD-813ACDD79F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77865E-7ADA-7C48-AC7C-7BD23AFA8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5A86F8-9249-2941-BCE8-3144DCB36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B89671E-C5A3-AC49-961F-0681EA7A7A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0655D-D26A-4756-9390-58205F822B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771495-DD2C-4133-A19E-D2FC4E0161A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89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0B0A4C-A4E3-4EFF-811D-C8F7F71DDAD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B9DD37-5DFE-4A41-8FA8-34800D0AD8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CC9C687-5164-DD4B-905F-8D9278B64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1DCF08D-7562-D34D-A3B4-44FC665F46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084A-677C-4667-80CD-ACE9A503F27A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18D356-C67E-4C15-9A94-5289D723453D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347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82F6FB-6C88-4EEE-9198-A9B87177A1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5156B22-A2E9-B341-8510-C9C5982CF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F1350D-FD1E-384F-BE94-2292ED25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4FC454-9417-9341-BB90-0BEC752290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6F9526-02BF-4F7A-B3A0-57215B91A513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776A7-A108-4986-8E36-1A1B07036F57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795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­ - Big Type - with Ic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6C857-6C05-8E4F-89DE-4C6A9CEA50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954" y="385590"/>
            <a:ext cx="836212" cy="270933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4CD84E1-A716-784A-BEDC-3F776D13E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600200"/>
            <a:ext cx="8080664" cy="1408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500">
                <a:solidFill>
                  <a:schemeClr val="bg1"/>
                </a:solidFill>
                <a:latin typeface="Visa Dialect Medium" pitchFamily="2" charset="0"/>
              </a:defRPr>
            </a:lvl1pPr>
          </a:lstStyle>
          <a:p>
            <a:r>
              <a:rPr lang="en-US"/>
              <a:t>Click to edit Master title style with up to 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9A24A-091B-1847-A8CD-FA05E6DF03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58598"/>
            <a:ext cx="5486400" cy="8222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8FA1B8AC-487C-49C6-B84A-CD69B74EDE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08008" y="3835908"/>
            <a:ext cx="2374392" cy="237439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94403A-163E-2F49-B354-92394604048F}"/>
              </a:ext>
            </a:extLst>
          </p:cNvPr>
          <p:cNvSpPr txBox="1"/>
          <p:nvPr/>
        </p:nvSpPr>
        <p:spPr>
          <a:xfrm>
            <a:off x="11387579" y="6577436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42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34E0250-7EA6-A14E-85A2-70CC7AF598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FB486BD-B31D-2746-A2D9-D74A5612C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9B97EB1-495E-7643-8ACA-13F758737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DDD1-E673-413B-ABF2-1F205D7C233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05CC88-5C99-4116-8382-D1031391C5A3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>
                    <a:lumMod val="90000"/>
                  </a:schemeClr>
                </a:solidFill>
              </a:rPr>
              <a:pPr algn="r"/>
              <a:t>‹#›</a:t>
            </a:fld>
            <a:endParaRPr lang="en-US" sz="600">
              <a:solidFill>
                <a:schemeClr val="tx2">
                  <a:lumMod val="90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749602-2703-420C-8E06-C21DD3AB92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29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Text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EF2D28D-835D-674E-9C16-1E2C9608E6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1" y="2647860"/>
            <a:ext cx="5486398" cy="60195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63B2BCD-5F69-8D43-8F89-629C13FC6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622357"/>
            <a:ext cx="5486398" cy="1025504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lick to edit Master titl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style with up to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CA1875B-428C-074B-81DA-1C09468F0A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383531"/>
            <a:ext cx="6421967" cy="552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F6F7F-687B-4B57-8E8F-5B349EA3B326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5263A8-6FCF-4763-8B81-709E07B3599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721066-D14F-4982-A518-C5F7B7B5C6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69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A96E994-B347-4526-B8DE-2F0DEE90471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tx2">
                    <a:lumMod val="90000"/>
                  </a:schemeClr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9A7E0F-7DCB-4BBC-8865-65F8E448C5EE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tx2"/>
                </a:solidFill>
              </a:rPr>
              <a:pPr algn="r"/>
              <a:t>‹#›</a:t>
            </a:fld>
            <a:endParaRPr lang="en-US" sz="60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3FA28E-F3AC-4BE0-AD63-18713F8830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" y="6297899"/>
            <a:ext cx="552780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805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Whi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65FE600-6E90-41CA-925C-7248AED93E61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115DBC-2B4F-4AA2-867E-80D7D554C07C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786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AA401A3-5E31-1746-967D-DE8C077164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8FC6AED-2776-AC42-B536-8EFA0107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02A091-537F-6749-A908-1B885DDB25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590A4-CB62-44C6-9982-CD5776E5E67C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6B1BD8-0C96-47E0-927A-0B5BE4D639E8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2" name="Rectangle 82">
            <a:extLst>
              <a:ext uri="{FF2B5EF4-FFF2-40B4-BE49-F238E27FC236}">
                <a16:creationId xmlns:a16="http://schemas.microsoft.com/office/drawing/2014/main" id="{7A8220E6-EDC1-E2F8-8CCE-D3B1E044EB2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46C9BDB-E7E4-CB24-B0A8-4AA9D5F624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16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008">
          <p15:clr>
            <a:srgbClr val="FBAE40"/>
          </p15:clr>
        </p15:guide>
        <p15:guide id="5" pos="384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5CE4F260-2609-CE54-732B-DDCF97AD01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893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5CE4F260-2609-CE54-732B-DDCF97AD01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5E3F26-CD4B-4F4B-A76A-323B5897E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8"/>
            <a:ext cx="10972800" cy="967982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0AEBB67-1858-8045-8897-E60ACC3C61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26C0C-2EDB-488A-8715-85AF64027CCD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785AC-4A3E-4F1C-B384-9A61E41DFD20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63ECD3FC-B883-6491-0D95-23E23A2739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724" y="3636701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Go-to-Market Observations</a:t>
            </a:r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9927CA25-8082-E518-E1F0-67907B7FE3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724" y="1477067"/>
            <a:ext cx="6065559" cy="1622425"/>
          </a:xfrm>
        </p:spPr>
        <p:txBody>
          <a:bodyPr/>
          <a:lstStyle>
            <a:lvl1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Key Observations</a:t>
            </a:r>
          </a:p>
        </p:txBody>
      </p:sp>
      <p:sp>
        <p:nvSpPr>
          <p:cNvPr id="23" name="Rectangle 82">
            <a:extLst>
              <a:ext uri="{FF2B5EF4-FFF2-40B4-BE49-F238E27FC236}">
                <a16:creationId xmlns:a16="http://schemas.microsoft.com/office/drawing/2014/main" id="{723B0AD3-4DFA-0C20-8F85-F56BBAD836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523EA64A-8DC5-97E6-B4C3-DEFFAEF94D2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22609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  <p15:guide id="5" pos="573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D94BD7-12E0-4039-A6BE-706E15DF6B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95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D94BD7-12E0-4039-A6BE-706E15DF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3" name="Rectangle 82">
            <a:extLst>
              <a:ext uri="{FF2B5EF4-FFF2-40B4-BE49-F238E27FC236}">
                <a16:creationId xmlns:a16="http://schemas.microsoft.com/office/drawing/2014/main" id="{D5767EE1-FD5C-DB78-4174-4AEB17E4A72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91342" y="175185"/>
            <a:ext cx="1775012" cy="1246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>
            <a:spAutoFit/>
          </a:bodyPr>
          <a:lstStyle>
            <a:lvl1pPr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402040204020203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ts val="0"/>
              </a:spcBef>
              <a:defRPr/>
            </a:pPr>
            <a:r>
              <a:rPr lang="en-US" altLang="en-US" sz="900" b="1" i="0">
                <a:solidFill>
                  <a:schemeClr val="tx1"/>
                </a:solidFill>
                <a:latin typeface="Visa Dialect Semibold" pitchFamily="2" charset="77"/>
              </a:rPr>
              <a:t>Visa Consulting &amp; Analytic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08E3B7D-84C6-50FA-97C7-96A7486AA4B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84285" y="60671"/>
            <a:ext cx="316046" cy="3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74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Bullets -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B7E1188-4C45-8F48-ACBC-D78A854D78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8410" y="1600200"/>
            <a:ext cx="8155180" cy="4610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6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ABC604-EE73-8441-BEA6-A5DA6EE91A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751AB5-BCE2-3A48-AB2B-81D2957752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4009E6-8C8C-4F63-8386-915350D1F6BB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3475BE-34FA-478E-A50B-B89C4195AD52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352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6FDCD2-5A25-4132-A829-365A43AAA2CF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2D125BFB-43F1-B442-B16F-32B94167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45557-2782-1C4D-9649-89829803926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600200"/>
            <a:ext cx="8153401" cy="4610100"/>
          </a:xfrm>
        </p:spPr>
        <p:txBody>
          <a:bodyPr>
            <a:noAutofit/>
          </a:bodyPr>
          <a:lstStyle>
            <a:lvl1pPr marL="230188" indent="-230188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2pPr>
            <a:lvl3pPr marL="4572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3pPr>
            <a:lvl4pPr marL="685800" indent="-228600">
              <a:lnSpc>
                <a:spcPct val="110000"/>
              </a:lnSpc>
              <a:spcBef>
                <a:spcPts val="0"/>
              </a:spcBef>
              <a:tabLst/>
              <a:defRPr sz="16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edit numbering text styles</a:t>
            </a:r>
          </a:p>
          <a:p>
            <a:pPr lvl="2"/>
            <a:r>
              <a:rPr lang="en-US"/>
              <a:t>Second bullet level</a:t>
            </a:r>
          </a:p>
          <a:p>
            <a:pPr lvl="3"/>
            <a:r>
              <a:rPr lang="en-US"/>
              <a:t>Third bullet 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B99707-631C-504C-957F-75DF92D425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748D62-F2B5-2B4A-9E6A-987900DA44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9BF2C-89DA-40FC-BDB4-F9F2327BD1B8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B1CCE4-8767-470D-8DDB-B0AB133458C1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069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55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-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8EDF07-72EA-CE41-A35E-2CE9B7FCED0C}"/>
              </a:ext>
            </a:extLst>
          </p:cNvPr>
          <p:cNvCxnSpPr/>
          <p:nvPr/>
        </p:nvCxnSpPr>
        <p:spPr>
          <a:xfrm>
            <a:off x="609600" y="381000"/>
            <a:ext cx="10972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636F92-56A3-4048-9234-A4D4D6B1402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09600" y="1600200"/>
            <a:ext cx="10972800" cy="4610100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3200" b="0" i="0">
                <a:solidFill>
                  <a:schemeClr val="tx1"/>
                </a:solidFill>
                <a:latin typeface="Visa Dialect Medium" pitchFamily="2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050"/>
            </a:lvl2pPr>
            <a:lvl3pPr marL="1714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3pPr>
            <a:lvl4pPr marL="344488" indent="-173038">
              <a:lnSpc>
                <a:spcPct val="100000"/>
              </a:lnSpc>
              <a:spcBef>
                <a:spcPts val="300"/>
              </a:spcBef>
              <a:tabLst/>
              <a:defRPr sz="1050"/>
            </a:lvl4pPr>
            <a:lvl5pPr marL="514350" indent="-171450">
              <a:lnSpc>
                <a:spcPct val="100000"/>
              </a:lnSpc>
              <a:spcBef>
                <a:spcPts val="300"/>
              </a:spcBef>
              <a:tabLst/>
              <a:defRPr sz="1050"/>
            </a:lvl5pPr>
            <a:lvl6pPr marL="685800" indent="-176213">
              <a:tabLst/>
              <a:defRPr sz="1050"/>
            </a:lvl6pPr>
          </a:lstStyle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  <a:p>
            <a:pPr marL="51435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Second level</a:t>
            </a:r>
          </a:p>
          <a:p>
            <a:pPr marL="514350" marR="0" lvl="2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Third level</a:t>
            </a:r>
          </a:p>
          <a:p>
            <a:pPr marL="514350" marR="0" lvl="3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ourth level</a:t>
            </a:r>
          </a:p>
          <a:p>
            <a:pPr marL="514350" marR="0" lvl="4" indent="-5143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r>
              <a:rPr lang="en-US"/>
              <a:t>Fifth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64807F4-3A5E-4790-8BFF-9F75F97358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80DBE0-EA23-914C-BE1F-E2E9FA549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1459"/>
            <a:ext cx="10972800" cy="236825"/>
          </a:xfrm>
          <a:prstGeom prst="rect">
            <a:avLst/>
          </a:prstGeom>
        </p:spPr>
        <p:txBody>
          <a:bodyPr vert="horz" wrap="none" lIns="0" tIns="0" rIns="0" bIns="9144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71262D7-4155-664A-A7EF-0F6CD92AC9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" y="768068"/>
            <a:ext cx="10972800" cy="292454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62BCEA-A68A-4769-B6ED-EF217FA5B7A2}"/>
              </a:ext>
            </a:extLst>
          </p:cNvPr>
          <p:cNvSpPr txBox="1"/>
          <p:nvPr/>
        </p:nvSpPr>
        <p:spPr>
          <a:xfrm>
            <a:off x="9119115" y="6392502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38CD4-8CE7-4DB6-9772-1D3E7895B31A}"/>
              </a:ext>
            </a:extLst>
          </p:cNvPr>
          <p:cNvSpPr txBox="1"/>
          <p:nvPr/>
        </p:nvSpPr>
        <p:spPr>
          <a:xfrm>
            <a:off x="11192758" y="6392501"/>
            <a:ext cx="38964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D3D4E247-B638-4FD4-B8AD-3498FA336A5F}" type="slidenum">
              <a:rPr lang="en-US" sz="600" smtClean="0">
                <a:solidFill>
                  <a:schemeClr val="bg2"/>
                </a:solidFill>
              </a:rPr>
              <a:pPr algn="r"/>
              <a:t>‹#›</a:t>
            </a:fld>
            <a:endParaRPr lang="en-US" sz="600">
              <a:solidFill>
                <a:schemeClr val="bg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5FE215-5FF4-864B-8264-06F499FAE8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93227" y="6210300"/>
            <a:ext cx="6363371" cy="2667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ource placeholder</a:t>
            </a:r>
          </a:p>
        </p:txBody>
      </p:sp>
    </p:spTree>
    <p:extLst>
      <p:ext uri="{BB962C8B-B14F-4D97-AF65-F5344CB8AC3E}">
        <p14:creationId xmlns:p14="http://schemas.microsoft.com/office/powerpoint/2010/main" val="3919205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3" pos="384">
          <p15:clr>
            <a:srgbClr val="FBAE40"/>
          </p15:clr>
        </p15:guide>
        <p15:guide id="14" pos="7296">
          <p15:clr>
            <a:srgbClr val="FBAE40"/>
          </p15:clr>
        </p15:guide>
        <p15:guide id="21" orient="horz" pos="1008">
          <p15:clr>
            <a:srgbClr val="FBAE40"/>
          </p15:clr>
        </p15:guide>
        <p15:guide id="23" orient="horz" pos="15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111.xml"/><Relationship Id="rId47" Type="http://schemas.openxmlformats.org/officeDocument/2006/relationships/slideLayout" Target="../slideLayouts/slideLayout116.xml"/><Relationship Id="rId63" Type="http://schemas.openxmlformats.org/officeDocument/2006/relationships/slideLayout" Target="../slideLayouts/slideLayout132.xml"/><Relationship Id="rId68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101.xml"/><Relationship Id="rId37" Type="http://schemas.openxmlformats.org/officeDocument/2006/relationships/slideLayout" Target="../slideLayouts/slideLayout106.xml"/><Relationship Id="rId53" Type="http://schemas.openxmlformats.org/officeDocument/2006/relationships/slideLayout" Target="../slideLayouts/slideLayout122.xml"/><Relationship Id="rId58" Type="http://schemas.openxmlformats.org/officeDocument/2006/relationships/slideLayout" Target="../slideLayouts/slideLayout127.xml"/><Relationship Id="rId74" Type="http://schemas.openxmlformats.org/officeDocument/2006/relationships/slideLayout" Target="../slideLayouts/slideLayout143.xml"/><Relationship Id="rId79" Type="http://schemas.openxmlformats.org/officeDocument/2006/relationships/tags" Target="../tags/tag6.xml"/><Relationship Id="rId5" Type="http://schemas.openxmlformats.org/officeDocument/2006/relationships/slideLayout" Target="../slideLayouts/slideLayout74.xml"/><Relationship Id="rId61" Type="http://schemas.openxmlformats.org/officeDocument/2006/relationships/slideLayout" Target="../slideLayouts/slideLayout130.xml"/><Relationship Id="rId82" Type="http://schemas.openxmlformats.org/officeDocument/2006/relationships/image" Target="../media/image2.png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43" Type="http://schemas.openxmlformats.org/officeDocument/2006/relationships/slideLayout" Target="../slideLayouts/slideLayout112.xml"/><Relationship Id="rId48" Type="http://schemas.openxmlformats.org/officeDocument/2006/relationships/slideLayout" Target="../slideLayouts/slideLayout117.xml"/><Relationship Id="rId56" Type="http://schemas.openxmlformats.org/officeDocument/2006/relationships/slideLayout" Target="../slideLayouts/slideLayout125.xml"/><Relationship Id="rId64" Type="http://schemas.openxmlformats.org/officeDocument/2006/relationships/slideLayout" Target="../slideLayouts/slideLayout133.xml"/><Relationship Id="rId69" Type="http://schemas.openxmlformats.org/officeDocument/2006/relationships/slideLayout" Target="../slideLayouts/slideLayout138.xml"/><Relationship Id="rId77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77.xml"/><Relationship Id="rId51" Type="http://schemas.openxmlformats.org/officeDocument/2006/relationships/slideLayout" Target="../slideLayouts/slideLayout120.xml"/><Relationship Id="rId72" Type="http://schemas.openxmlformats.org/officeDocument/2006/relationships/slideLayout" Target="../slideLayouts/slideLayout141.xml"/><Relationship Id="rId80" Type="http://schemas.openxmlformats.org/officeDocument/2006/relationships/oleObject" Target="../embeddings/oleObject5.bin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07.xml"/><Relationship Id="rId46" Type="http://schemas.openxmlformats.org/officeDocument/2006/relationships/slideLayout" Target="../slideLayouts/slideLayout115.xml"/><Relationship Id="rId59" Type="http://schemas.openxmlformats.org/officeDocument/2006/relationships/slideLayout" Target="../slideLayouts/slideLayout128.xml"/><Relationship Id="rId67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89.xml"/><Relationship Id="rId41" Type="http://schemas.openxmlformats.org/officeDocument/2006/relationships/slideLayout" Target="../slideLayouts/slideLayout110.xml"/><Relationship Id="rId54" Type="http://schemas.openxmlformats.org/officeDocument/2006/relationships/slideLayout" Target="../slideLayouts/slideLayout123.xml"/><Relationship Id="rId62" Type="http://schemas.openxmlformats.org/officeDocument/2006/relationships/slideLayout" Target="../slideLayouts/slideLayout131.xml"/><Relationship Id="rId70" Type="http://schemas.openxmlformats.org/officeDocument/2006/relationships/slideLayout" Target="../slideLayouts/slideLayout139.xml"/><Relationship Id="rId75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49" Type="http://schemas.openxmlformats.org/officeDocument/2006/relationships/slideLayout" Target="../slideLayouts/slideLayout118.xml"/><Relationship Id="rId57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100.xml"/><Relationship Id="rId44" Type="http://schemas.openxmlformats.org/officeDocument/2006/relationships/slideLayout" Target="../slideLayouts/slideLayout113.xml"/><Relationship Id="rId52" Type="http://schemas.openxmlformats.org/officeDocument/2006/relationships/slideLayout" Target="../slideLayouts/slideLayout121.xml"/><Relationship Id="rId60" Type="http://schemas.openxmlformats.org/officeDocument/2006/relationships/slideLayout" Target="../slideLayouts/slideLayout129.xml"/><Relationship Id="rId65" Type="http://schemas.openxmlformats.org/officeDocument/2006/relationships/slideLayout" Target="../slideLayouts/slideLayout134.xml"/><Relationship Id="rId73" Type="http://schemas.openxmlformats.org/officeDocument/2006/relationships/slideLayout" Target="../slideLayouts/slideLayout142.xml"/><Relationship Id="rId78" Type="http://schemas.openxmlformats.org/officeDocument/2006/relationships/theme" Target="../theme/theme2.xml"/><Relationship Id="rId81" Type="http://schemas.openxmlformats.org/officeDocument/2006/relationships/image" Target="../media/image1.emf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03.xml"/><Relationship Id="rId50" Type="http://schemas.openxmlformats.org/officeDocument/2006/relationships/slideLayout" Target="../slideLayouts/slideLayout119.xml"/><Relationship Id="rId55" Type="http://schemas.openxmlformats.org/officeDocument/2006/relationships/slideLayout" Target="../slideLayouts/slideLayout124.xml"/><Relationship Id="rId76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76.xml"/><Relationship Id="rId71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109.xml"/><Relationship Id="rId45" Type="http://schemas.openxmlformats.org/officeDocument/2006/relationships/slideLayout" Target="../slideLayouts/slideLayout114.xml"/><Relationship Id="rId66" Type="http://schemas.openxmlformats.org/officeDocument/2006/relationships/slideLayout" Target="../slideLayouts/slideLayout135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2.xml"/><Relationship Id="rId21" Type="http://schemas.openxmlformats.org/officeDocument/2006/relationships/slideLayout" Target="../slideLayouts/slideLayout167.xml"/><Relationship Id="rId42" Type="http://schemas.openxmlformats.org/officeDocument/2006/relationships/slideLayout" Target="../slideLayouts/slideLayout188.xml"/><Relationship Id="rId47" Type="http://schemas.openxmlformats.org/officeDocument/2006/relationships/slideLayout" Target="../slideLayouts/slideLayout193.xml"/><Relationship Id="rId63" Type="http://schemas.openxmlformats.org/officeDocument/2006/relationships/slideLayout" Target="../slideLayouts/slideLayout209.xml"/><Relationship Id="rId68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8.xml"/><Relationship Id="rId37" Type="http://schemas.openxmlformats.org/officeDocument/2006/relationships/slideLayout" Target="../slideLayouts/slideLayout183.xml"/><Relationship Id="rId40" Type="http://schemas.openxmlformats.org/officeDocument/2006/relationships/slideLayout" Target="../slideLayouts/slideLayout186.xml"/><Relationship Id="rId45" Type="http://schemas.openxmlformats.org/officeDocument/2006/relationships/slideLayout" Target="../slideLayouts/slideLayout191.xml"/><Relationship Id="rId53" Type="http://schemas.openxmlformats.org/officeDocument/2006/relationships/slideLayout" Target="../slideLayouts/slideLayout199.xml"/><Relationship Id="rId58" Type="http://schemas.openxmlformats.org/officeDocument/2006/relationships/slideLayout" Target="../slideLayouts/slideLayout204.xml"/><Relationship Id="rId66" Type="http://schemas.openxmlformats.org/officeDocument/2006/relationships/slideLayout" Target="../slideLayouts/slideLayout212.xml"/><Relationship Id="rId74" Type="http://schemas.openxmlformats.org/officeDocument/2006/relationships/slideLayout" Target="../slideLayouts/slideLayout220.xml"/><Relationship Id="rId79" Type="http://schemas.openxmlformats.org/officeDocument/2006/relationships/image" Target="../media/image2.png"/><Relationship Id="rId5" Type="http://schemas.openxmlformats.org/officeDocument/2006/relationships/slideLayout" Target="../slideLayouts/slideLayout151.xml"/><Relationship Id="rId61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Relationship Id="rId35" Type="http://schemas.openxmlformats.org/officeDocument/2006/relationships/slideLayout" Target="../slideLayouts/slideLayout181.xml"/><Relationship Id="rId43" Type="http://schemas.openxmlformats.org/officeDocument/2006/relationships/slideLayout" Target="../slideLayouts/slideLayout189.xml"/><Relationship Id="rId48" Type="http://schemas.openxmlformats.org/officeDocument/2006/relationships/slideLayout" Target="../slideLayouts/slideLayout194.xml"/><Relationship Id="rId56" Type="http://schemas.openxmlformats.org/officeDocument/2006/relationships/slideLayout" Target="../slideLayouts/slideLayout202.xml"/><Relationship Id="rId64" Type="http://schemas.openxmlformats.org/officeDocument/2006/relationships/slideLayout" Target="../slideLayouts/slideLayout210.xml"/><Relationship Id="rId69" Type="http://schemas.openxmlformats.org/officeDocument/2006/relationships/slideLayout" Target="../slideLayouts/slideLayout215.xml"/><Relationship Id="rId77" Type="http://schemas.openxmlformats.org/officeDocument/2006/relationships/oleObject" Target="../embeddings/oleObject16.bin"/><Relationship Id="rId8" Type="http://schemas.openxmlformats.org/officeDocument/2006/relationships/slideLayout" Target="../slideLayouts/slideLayout154.xml"/><Relationship Id="rId51" Type="http://schemas.openxmlformats.org/officeDocument/2006/relationships/slideLayout" Target="../slideLayouts/slideLayout197.xml"/><Relationship Id="rId72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slideLayout" Target="../slideLayouts/slideLayout179.xml"/><Relationship Id="rId38" Type="http://schemas.openxmlformats.org/officeDocument/2006/relationships/slideLayout" Target="../slideLayouts/slideLayout184.xml"/><Relationship Id="rId46" Type="http://schemas.openxmlformats.org/officeDocument/2006/relationships/slideLayout" Target="../slideLayouts/slideLayout192.xml"/><Relationship Id="rId59" Type="http://schemas.openxmlformats.org/officeDocument/2006/relationships/slideLayout" Target="../slideLayouts/slideLayout205.xml"/><Relationship Id="rId67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166.xml"/><Relationship Id="rId41" Type="http://schemas.openxmlformats.org/officeDocument/2006/relationships/slideLayout" Target="../slideLayouts/slideLayout187.xml"/><Relationship Id="rId54" Type="http://schemas.openxmlformats.org/officeDocument/2006/relationships/slideLayout" Target="../slideLayouts/slideLayout200.xml"/><Relationship Id="rId62" Type="http://schemas.openxmlformats.org/officeDocument/2006/relationships/slideLayout" Target="../slideLayouts/slideLayout208.xml"/><Relationship Id="rId70" Type="http://schemas.openxmlformats.org/officeDocument/2006/relationships/slideLayout" Target="../slideLayouts/slideLayout216.xml"/><Relationship Id="rId75" Type="http://schemas.openxmlformats.org/officeDocument/2006/relationships/theme" Target="../theme/theme3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82.xml"/><Relationship Id="rId49" Type="http://schemas.openxmlformats.org/officeDocument/2006/relationships/slideLayout" Target="../slideLayouts/slideLayout195.xml"/><Relationship Id="rId57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77.xml"/><Relationship Id="rId44" Type="http://schemas.openxmlformats.org/officeDocument/2006/relationships/slideLayout" Target="../slideLayouts/slideLayout190.xml"/><Relationship Id="rId52" Type="http://schemas.openxmlformats.org/officeDocument/2006/relationships/slideLayout" Target="../slideLayouts/slideLayout198.xml"/><Relationship Id="rId60" Type="http://schemas.openxmlformats.org/officeDocument/2006/relationships/slideLayout" Target="../slideLayouts/slideLayout206.xml"/><Relationship Id="rId65" Type="http://schemas.openxmlformats.org/officeDocument/2006/relationships/slideLayout" Target="../slideLayouts/slideLayout211.xml"/><Relationship Id="rId73" Type="http://schemas.openxmlformats.org/officeDocument/2006/relationships/slideLayout" Target="../slideLayouts/slideLayout219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39" Type="http://schemas.openxmlformats.org/officeDocument/2006/relationships/slideLayout" Target="../slideLayouts/slideLayout185.xml"/><Relationship Id="rId34" Type="http://schemas.openxmlformats.org/officeDocument/2006/relationships/slideLayout" Target="../slideLayouts/slideLayout180.xml"/><Relationship Id="rId50" Type="http://schemas.openxmlformats.org/officeDocument/2006/relationships/slideLayout" Target="../slideLayouts/slideLayout196.xml"/><Relationship Id="rId55" Type="http://schemas.openxmlformats.org/officeDocument/2006/relationships/slideLayout" Target="../slideLayouts/slideLayout201.xml"/><Relationship Id="rId76" Type="http://schemas.openxmlformats.org/officeDocument/2006/relationships/tags" Target="../tags/tag20.xml"/><Relationship Id="rId7" Type="http://schemas.openxmlformats.org/officeDocument/2006/relationships/slideLayout" Target="../slideLayouts/slideLayout153.xml"/><Relationship Id="rId71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75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41.xml"/><Relationship Id="rId34" Type="http://schemas.openxmlformats.org/officeDocument/2006/relationships/slideLayout" Target="../slideLayouts/slideLayout254.xml"/><Relationship Id="rId42" Type="http://schemas.openxmlformats.org/officeDocument/2006/relationships/slideLayout" Target="../slideLayouts/slideLayout262.xml"/><Relationship Id="rId47" Type="http://schemas.openxmlformats.org/officeDocument/2006/relationships/slideLayout" Target="../slideLayouts/slideLayout267.xml"/><Relationship Id="rId50" Type="http://schemas.openxmlformats.org/officeDocument/2006/relationships/slideLayout" Target="../slideLayouts/slideLayout270.xml"/><Relationship Id="rId55" Type="http://schemas.openxmlformats.org/officeDocument/2006/relationships/slideLayout" Target="../slideLayouts/slideLayout275.xml"/><Relationship Id="rId63" Type="http://schemas.openxmlformats.org/officeDocument/2006/relationships/theme" Target="../theme/theme4.xml"/><Relationship Id="rId7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9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slideLayout" Target="../slideLayouts/slideLayout252.xml"/><Relationship Id="rId37" Type="http://schemas.openxmlformats.org/officeDocument/2006/relationships/slideLayout" Target="../slideLayouts/slideLayout257.xml"/><Relationship Id="rId40" Type="http://schemas.openxmlformats.org/officeDocument/2006/relationships/slideLayout" Target="../slideLayouts/slideLayout260.xml"/><Relationship Id="rId45" Type="http://schemas.openxmlformats.org/officeDocument/2006/relationships/slideLayout" Target="../slideLayouts/slideLayout265.xml"/><Relationship Id="rId53" Type="http://schemas.openxmlformats.org/officeDocument/2006/relationships/slideLayout" Target="../slideLayouts/slideLayout273.xml"/><Relationship Id="rId58" Type="http://schemas.openxmlformats.org/officeDocument/2006/relationships/slideLayout" Target="../slideLayouts/slideLayout278.xml"/><Relationship Id="rId66" Type="http://schemas.openxmlformats.org/officeDocument/2006/relationships/image" Target="../media/image46.emf"/><Relationship Id="rId5" Type="http://schemas.openxmlformats.org/officeDocument/2006/relationships/slideLayout" Target="../slideLayouts/slideLayout225.xml"/><Relationship Id="rId61" Type="http://schemas.openxmlformats.org/officeDocument/2006/relationships/slideLayout" Target="../slideLayouts/slideLayout281.xml"/><Relationship Id="rId1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Relationship Id="rId35" Type="http://schemas.openxmlformats.org/officeDocument/2006/relationships/slideLayout" Target="../slideLayouts/slideLayout255.xml"/><Relationship Id="rId43" Type="http://schemas.openxmlformats.org/officeDocument/2006/relationships/slideLayout" Target="../slideLayouts/slideLayout263.xml"/><Relationship Id="rId48" Type="http://schemas.openxmlformats.org/officeDocument/2006/relationships/slideLayout" Target="../slideLayouts/slideLayout268.xml"/><Relationship Id="rId56" Type="http://schemas.openxmlformats.org/officeDocument/2006/relationships/slideLayout" Target="../slideLayouts/slideLayout276.xml"/><Relationship Id="rId64" Type="http://schemas.openxmlformats.org/officeDocument/2006/relationships/tags" Target="../tags/tag30.xml"/><Relationship Id="rId8" Type="http://schemas.openxmlformats.org/officeDocument/2006/relationships/slideLayout" Target="../slideLayouts/slideLayout228.xml"/><Relationship Id="rId51" Type="http://schemas.openxmlformats.org/officeDocument/2006/relationships/slideLayout" Target="../slideLayouts/slideLayout271.xml"/><Relationship Id="rId3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33" Type="http://schemas.openxmlformats.org/officeDocument/2006/relationships/slideLayout" Target="../slideLayouts/slideLayout253.xml"/><Relationship Id="rId38" Type="http://schemas.openxmlformats.org/officeDocument/2006/relationships/slideLayout" Target="../slideLayouts/slideLayout258.xml"/><Relationship Id="rId46" Type="http://schemas.openxmlformats.org/officeDocument/2006/relationships/slideLayout" Target="../slideLayouts/slideLayout266.xml"/><Relationship Id="rId59" Type="http://schemas.openxmlformats.org/officeDocument/2006/relationships/slideLayout" Target="../slideLayouts/slideLayout279.xml"/><Relationship Id="rId20" Type="http://schemas.openxmlformats.org/officeDocument/2006/relationships/slideLayout" Target="../slideLayouts/slideLayout240.xml"/><Relationship Id="rId41" Type="http://schemas.openxmlformats.org/officeDocument/2006/relationships/slideLayout" Target="../slideLayouts/slideLayout261.xml"/><Relationship Id="rId54" Type="http://schemas.openxmlformats.org/officeDocument/2006/relationships/slideLayout" Target="../slideLayouts/slideLayout274.xml"/><Relationship Id="rId6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36" Type="http://schemas.openxmlformats.org/officeDocument/2006/relationships/slideLayout" Target="../slideLayouts/slideLayout256.xml"/><Relationship Id="rId49" Type="http://schemas.openxmlformats.org/officeDocument/2006/relationships/slideLayout" Target="../slideLayouts/slideLayout269.xml"/><Relationship Id="rId57" Type="http://schemas.openxmlformats.org/officeDocument/2006/relationships/slideLayout" Target="../slideLayouts/slideLayout277.xml"/><Relationship Id="rId10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51.xml"/><Relationship Id="rId44" Type="http://schemas.openxmlformats.org/officeDocument/2006/relationships/slideLayout" Target="../slideLayouts/slideLayout264.xml"/><Relationship Id="rId52" Type="http://schemas.openxmlformats.org/officeDocument/2006/relationships/slideLayout" Target="../slideLayouts/slideLayout272.xml"/><Relationship Id="rId60" Type="http://schemas.openxmlformats.org/officeDocument/2006/relationships/slideLayout" Target="../slideLayouts/slideLayout280.xml"/><Relationship Id="rId65" Type="http://schemas.openxmlformats.org/officeDocument/2006/relationships/oleObject" Target="../embeddings/oleObject23.bin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39" Type="http://schemas.openxmlformats.org/officeDocument/2006/relationships/slideLayout" Target="../slideLayouts/slideLayout259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08.xml"/><Relationship Id="rId21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324.xml"/><Relationship Id="rId47" Type="http://schemas.openxmlformats.org/officeDocument/2006/relationships/slideLayout" Target="../slideLayouts/slideLayout329.xml"/><Relationship Id="rId63" Type="http://schemas.openxmlformats.org/officeDocument/2006/relationships/slideLayout" Target="../slideLayouts/slideLayout345.xml"/><Relationship Id="rId68" Type="http://schemas.openxmlformats.org/officeDocument/2006/relationships/slideLayout" Target="../slideLayouts/slideLayout350.xml"/><Relationship Id="rId1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293.xml"/><Relationship Id="rId32" Type="http://schemas.openxmlformats.org/officeDocument/2006/relationships/slideLayout" Target="../slideLayouts/slideLayout314.xml"/><Relationship Id="rId37" Type="http://schemas.openxmlformats.org/officeDocument/2006/relationships/slideLayout" Target="../slideLayouts/slideLayout319.xml"/><Relationship Id="rId53" Type="http://schemas.openxmlformats.org/officeDocument/2006/relationships/slideLayout" Target="../slideLayouts/slideLayout335.xml"/><Relationship Id="rId58" Type="http://schemas.openxmlformats.org/officeDocument/2006/relationships/slideLayout" Target="../slideLayouts/slideLayout340.xml"/><Relationship Id="rId74" Type="http://schemas.openxmlformats.org/officeDocument/2006/relationships/slideLayout" Target="../slideLayouts/slideLayout356.xml"/><Relationship Id="rId79" Type="http://schemas.openxmlformats.org/officeDocument/2006/relationships/theme" Target="../theme/theme5.xml"/><Relationship Id="rId5" Type="http://schemas.openxmlformats.org/officeDocument/2006/relationships/slideLayout" Target="../slideLayouts/slideLayout287.xml"/><Relationship Id="rId61" Type="http://schemas.openxmlformats.org/officeDocument/2006/relationships/slideLayout" Target="../slideLayouts/slideLayout343.xml"/><Relationship Id="rId82" Type="http://schemas.openxmlformats.org/officeDocument/2006/relationships/image" Target="../media/image46.emf"/><Relationship Id="rId19" Type="http://schemas.openxmlformats.org/officeDocument/2006/relationships/slideLayout" Target="../slideLayouts/slideLayout301.xml"/><Relationship Id="rId14" Type="http://schemas.openxmlformats.org/officeDocument/2006/relationships/slideLayout" Target="../slideLayouts/slideLayout296.xml"/><Relationship Id="rId22" Type="http://schemas.openxmlformats.org/officeDocument/2006/relationships/slideLayout" Target="../slideLayouts/slideLayout304.xml"/><Relationship Id="rId27" Type="http://schemas.openxmlformats.org/officeDocument/2006/relationships/slideLayout" Target="../slideLayouts/slideLayout309.xml"/><Relationship Id="rId30" Type="http://schemas.openxmlformats.org/officeDocument/2006/relationships/slideLayout" Target="../slideLayouts/slideLayout312.xml"/><Relationship Id="rId35" Type="http://schemas.openxmlformats.org/officeDocument/2006/relationships/slideLayout" Target="../slideLayouts/slideLayout317.xml"/><Relationship Id="rId43" Type="http://schemas.openxmlformats.org/officeDocument/2006/relationships/slideLayout" Target="../slideLayouts/slideLayout325.xml"/><Relationship Id="rId48" Type="http://schemas.openxmlformats.org/officeDocument/2006/relationships/slideLayout" Target="../slideLayouts/slideLayout330.xml"/><Relationship Id="rId56" Type="http://schemas.openxmlformats.org/officeDocument/2006/relationships/slideLayout" Target="../slideLayouts/slideLayout338.xml"/><Relationship Id="rId64" Type="http://schemas.openxmlformats.org/officeDocument/2006/relationships/slideLayout" Target="../slideLayouts/slideLayout346.xml"/><Relationship Id="rId69" Type="http://schemas.openxmlformats.org/officeDocument/2006/relationships/slideLayout" Target="../slideLayouts/slideLayout351.xml"/><Relationship Id="rId77" Type="http://schemas.openxmlformats.org/officeDocument/2006/relationships/slideLayout" Target="../slideLayouts/slideLayout359.xml"/><Relationship Id="rId8" Type="http://schemas.openxmlformats.org/officeDocument/2006/relationships/slideLayout" Target="../slideLayouts/slideLayout290.xml"/><Relationship Id="rId51" Type="http://schemas.openxmlformats.org/officeDocument/2006/relationships/slideLayout" Target="../slideLayouts/slideLayout333.xml"/><Relationship Id="rId72" Type="http://schemas.openxmlformats.org/officeDocument/2006/relationships/slideLayout" Target="../slideLayouts/slideLayout354.xml"/><Relationship Id="rId80" Type="http://schemas.openxmlformats.org/officeDocument/2006/relationships/tags" Target="../tags/tag57.xml"/><Relationship Id="rId3" Type="http://schemas.openxmlformats.org/officeDocument/2006/relationships/slideLayout" Target="../slideLayouts/slideLayout285.xml"/><Relationship Id="rId12" Type="http://schemas.openxmlformats.org/officeDocument/2006/relationships/slideLayout" Target="../slideLayouts/slideLayout294.xml"/><Relationship Id="rId17" Type="http://schemas.openxmlformats.org/officeDocument/2006/relationships/slideLayout" Target="../slideLayouts/slideLayout299.xml"/><Relationship Id="rId25" Type="http://schemas.openxmlformats.org/officeDocument/2006/relationships/slideLayout" Target="../slideLayouts/slideLayout307.xml"/><Relationship Id="rId33" Type="http://schemas.openxmlformats.org/officeDocument/2006/relationships/slideLayout" Target="../slideLayouts/slideLayout315.xml"/><Relationship Id="rId38" Type="http://schemas.openxmlformats.org/officeDocument/2006/relationships/slideLayout" Target="../slideLayouts/slideLayout320.xml"/><Relationship Id="rId46" Type="http://schemas.openxmlformats.org/officeDocument/2006/relationships/slideLayout" Target="../slideLayouts/slideLayout328.xml"/><Relationship Id="rId59" Type="http://schemas.openxmlformats.org/officeDocument/2006/relationships/slideLayout" Target="../slideLayouts/slideLayout341.xml"/><Relationship Id="rId67" Type="http://schemas.openxmlformats.org/officeDocument/2006/relationships/slideLayout" Target="../slideLayouts/slideLayout349.xml"/><Relationship Id="rId20" Type="http://schemas.openxmlformats.org/officeDocument/2006/relationships/slideLayout" Target="../slideLayouts/slideLayout302.xml"/><Relationship Id="rId41" Type="http://schemas.openxmlformats.org/officeDocument/2006/relationships/slideLayout" Target="../slideLayouts/slideLayout323.xml"/><Relationship Id="rId54" Type="http://schemas.openxmlformats.org/officeDocument/2006/relationships/slideLayout" Target="../slideLayouts/slideLayout336.xml"/><Relationship Id="rId62" Type="http://schemas.openxmlformats.org/officeDocument/2006/relationships/slideLayout" Target="../slideLayouts/slideLayout344.xml"/><Relationship Id="rId70" Type="http://schemas.openxmlformats.org/officeDocument/2006/relationships/slideLayout" Target="../slideLayouts/slideLayout352.xml"/><Relationship Id="rId75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7.xml"/><Relationship Id="rId23" Type="http://schemas.openxmlformats.org/officeDocument/2006/relationships/slideLayout" Target="../slideLayouts/slideLayout305.xml"/><Relationship Id="rId28" Type="http://schemas.openxmlformats.org/officeDocument/2006/relationships/slideLayout" Target="../slideLayouts/slideLayout310.xml"/><Relationship Id="rId36" Type="http://schemas.openxmlformats.org/officeDocument/2006/relationships/slideLayout" Target="../slideLayouts/slideLayout318.xml"/><Relationship Id="rId49" Type="http://schemas.openxmlformats.org/officeDocument/2006/relationships/slideLayout" Target="../slideLayouts/slideLayout331.xml"/><Relationship Id="rId57" Type="http://schemas.openxmlformats.org/officeDocument/2006/relationships/slideLayout" Target="../slideLayouts/slideLayout339.xml"/><Relationship Id="rId10" Type="http://schemas.openxmlformats.org/officeDocument/2006/relationships/slideLayout" Target="../slideLayouts/slideLayout292.xml"/><Relationship Id="rId31" Type="http://schemas.openxmlformats.org/officeDocument/2006/relationships/slideLayout" Target="../slideLayouts/slideLayout313.xml"/><Relationship Id="rId44" Type="http://schemas.openxmlformats.org/officeDocument/2006/relationships/slideLayout" Target="../slideLayouts/slideLayout326.xml"/><Relationship Id="rId52" Type="http://schemas.openxmlformats.org/officeDocument/2006/relationships/slideLayout" Target="../slideLayouts/slideLayout334.xml"/><Relationship Id="rId60" Type="http://schemas.openxmlformats.org/officeDocument/2006/relationships/slideLayout" Target="../slideLayouts/slideLayout342.xml"/><Relationship Id="rId65" Type="http://schemas.openxmlformats.org/officeDocument/2006/relationships/slideLayout" Target="../slideLayouts/slideLayout347.xml"/><Relationship Id="rId73" Type="http://schemas.openxmlformats.org/officeDocument/2006/relationships/slideLayout" Target="../slideLayouts/slideLayout355.xml"/><Relationship Id="rId78" Type="http://schemas.openxmlformats.org/officeDocument/2006/relationships/slideLayout" Target="../slideLayouts/slideLayout360.xml"/><Relationship Id="rId81" Type="http://schemas.openxmlformats.org/officeDocument/2006/relationships/oleObject" Target="../embeddings/oleObject50.bin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5.xml"/><Relationship Id="rId18" Type="http://schemas.openxmlformats.org/officeDocument/2006/relationships/slideLayout" Target="../slideLayouts/slideLayout300.xml"/><Relationship Id="rId39" Type="http://schemas.openxmlformats.org/officeDocument/2006/relationships/slideLayout" Target="../slideLayouts/slideLayout321.xml"/><Relationship Id="rId34" Type="http://schemas.openxmlformats.org/officeDocument/2006/relationships/slideLayout" Target="../slideLayouts/slideLayout316.xml"/><Relationship Id="rId50" Type="http://schemas.openxmlformats.org/officeDocument/2006/relationships/slideLayout" Target="../slideLayouts/slideLayout332.xml"/><Relationship Id="rId55" Type="http://schemas.openxmlformats.org/officeDocument/2006/relationships/slideLayout" Target="../slideLayouts/slideLayout337.xml"/><Relationship Id="rId76" Type="http://schemas.openxmlformats.org/officeDocument/2006/relationships/slideLayout" Target="../slideLayouts/slideLayout358.xml"/><Relationship Id="rId7" Type="http://schemas.openxmlformats.org/officeDocument/2006/relationships/slideLayout" Target="../slideLayouts/slideLayout289.xml"/><Relationship Id="rId71" Type="http://schemas.openxmlformats.org/officeDocument/2006/relationships/slideLayout" Target="../slideLayouts/slideLayout353.xml"/><Relationship Id="rId2" Type="http://schemas.openxmlformats.org/officeDocument/2006/relationships/slideLayout" Target="../slideLayouts/slideLayout284.xml"/><Relationship Id="rId29" Type="http://schemas.openxmlformats.org/officeDocument/2006/relationships/slideLayout" Target="../slideLayouts/slideLayout311.xml"/><Relationship Id="rId24" Type="http://schemas.openxmlformats.org/officeDocument/2006/relationships/slideLayout" Target="../slideLayouts/slideLayout306.xml"/><Relationship Id="rId40" Type="http://schemas.openxmlformats.org/officeDocument/2006/relationships/slideLayout" Target="../slideLayouts/slideLayout322.xml"/><Relationship Id="rId45" Type="http://schemas.openxmlformats.org/officeDocument/2006/relationships/slideLayout" Target="../slideLayouts/slideLayout327.xml"/><Relationship Id="rId66" Type="http://schemas.openxmlformats.org/officeDocument/2006/relationships/slideLayout" Target="../slideLayouts/slideLayout348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6.xml"/><Relationship Id="rId21" Type="http://schemas.openxmlformats.org/officeDocument/2006/relationships/slideLayout" Target="../slideLayouts/slideLayout381.xml"/><Relationship Id="rId34" Type="http://schemas.openxmlformats.org/officeDocument/2006/relationships/slideLayout" Target="../slideLayouts/slideLayout394.xml"/><Relationship Id="rId42" Type="http://schemas.openxmlformats.org/officeDocument/2006/relationships/slideLayout" Target="../slideLayouts/slideLayout402.xml"/><Relationship Id="rId47" Type="http://schemas.openxmlformats.org/officeDocument/2006/relationships/slideLayout" Target="../slideLayouts/slideLayout407.xml"/><Relationship Id="rId50" Type="http://schemas.openxmlformats.org/officeDocument/2006/relationships/slideLayout" Target="../slideLayouts/slideLayout410.xml"/><Relationship Id="rId55" Type="http://schemas.openxmlformats.org/officeDocument/2006/relationships/slideLayout" Target="../slideLayouts/slideLayout415.xml"/><Relationship Id="rId63" Type="http://schemas.openxmlformats.org/officeDocument/2006/relationships/theme" Target="../theme/theme6.xml"/><Relationship Id="rId7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62.xml"/><Relationship Id="rId16" Type="http://schemas.openxmlformats.org/officeDocument/2006/relationships/slideLayout" Target="../slideLayouts/slideLayout376.xml"/><Relationship Id="rId29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71.xml"/><Relationship Id="rId24" Type="http://schemas.openxmlformats.org/officeDocument/2006/relationships/slideLayout" Target="../slideLayouts/slideLayout384.xml"/><Relationship Id="rId32" Type="http://schemas.openxmlformats.org/officeDocument/2006/relationships/slideLayout" Target="../slideLayouts/slideLayout392.xml"/><Relationship Id="rId37" Type="http://schemas.openxmlformats.org/officeDocument/2006/relationships/slideLayout" Target="../slideLayouts/slideLayout397.xml"/><Relationship Id="rId40" Type="http://schemas.openxmlformats.org/officeDocument/2006/relationships/slideLayout" Target="../slideLayouts/slideLayout400.xml"/><Relationship Id="rId45" Type="http://schemas.openxmlformats.org/officeDocument/2006/relationships/slideLayout" Target="../slideLayouts/slideLayout405.xml"/><Relationship Id="rId53" Type="http://schemas.openxmlformats.org/officeDocument/2006/relationships/slideLayout" Target="../slideLayouts/slideLayout413.xml"/><Relationship Id="rId58" Type="http://schemas.openxmlformats.org/officeDocument/2006/relationships/slideLayout" Target="../slideLayouts/slideLayout418.xml"/><Relationship Id="rId66" Type="http://schemas.openxmlformats.org/officeDocument/2006/relationships/image" Target="../media/image46.emf"/><Relationship Id="rId5" Type="http://schemas.openxmlformats.org/officeDocument/2006/relationships/slideLayout" Target="../slideLayouts/slideLayout365.xml"/><Relationship Id="rId61" Type="http://schemas.openxmlformats.org/officeDocument/2006/relationships/slideLayout" Target="../slideLayouts/slideLayout421.xml"/><Relationship Id="rId19" Type="http://schemas.openxmlformats.org/officeDocument/2006/relationships/slideLayout" Target="../slideLayouts/slideLayout379.xml"/><Relationship Id="rId14" Type="http://schemas.openxmlformats.org/officeDocument/2006/relationships/slideLayout" Target="../slideLayouts/slideLayout374.xml"/><Relationship Id="rId22" Type="http://schemas.openxmlformats.org/officeDocument/2006/relationships/slideLayout" Target="../slideLayouts/slideLayout382.xml"/><Relationship Id="rId27" Type="http://schemas.openxmlformats.org/officeDocument/2006/relationships/slideLayout" Target="../slideLayouts/slideLayout387.xml"/><Relationship Id="rId30" Type="http://schemas.openxmlformats.org/officeDocument/2006/relationships/slideLayout" Target="../slideLayouts/slideLayout390.xml"/><Relationship Id="rId35" Type="http://schemas.openxmlformats.org/officeDocument/2006/relationships/slideLayout" Target="../slideLayouts/slideLayout395.xml"/><Relationship Id="rId43" Type="http://schemas.openxmlformats.org/officeDocument/2006/relationships/slideLayout" Target="../slideLayouts/slideLayout403.xml"/><Relationship Id="rId48" Type="http://schemas.openxmlformats.org/officeDocument/2006/relationships/slideLayout" Target="../slideLayouts/slideLayout408.xml"/><Relationship Id="rId56" Type="http://schemas.openxmlformats.org/officeDocument/2006/relationships/slideLayout" Target="../slideLayouts/slideLayout416.xml"/><Relationship Id="rId64" Type="http://schemas.openxmlformats.org/officeDocument/2006/relationships/tags" Target="../tags/tag77.xml"/><Relationship Id="rId8" Type="http://schemas.openxmlformats.org/officeDocument/2006/relationships/slideLayout" Target="../slideLayouts/slideLayout368.xml"/><Relationship Id="rId51" Type="http://schemas.openxmlformats.org/officeDocument/2006/relationships/slideLayout" Target="../slideLayouts/slideLayout411.xml"/><Relationship Id="rId3" Type="http://schemas.openxmlformats.org/officeDocument/2006/relationships/slideLayout" Target="../slideLayouts/slideLayout363.xml"/><Relationship Id="rId12" Type="http://schemas.openxmlformats.org/officeDocument/2006/relationships/slideLayout" Target="../slideLayouts/slideLayout372.xml"/><Relationship Id="rId17" Type="http://schemas.openxmlformats.org/officeDocument/2006/relationships/slideLayout" Target="../slideLayouts/slideLayout377.xml"/><Relationship Id="rId25" Type="http://schemas.openxmlformats.org/officeDocument/2006/relationships/slideLayout" Target="../slideLayouts/slideLayout385.xml"/><Relationship Id="rId33" Type="http://schemas.openxmlformats.org/officeDocument/2006/relationships/slideLayout" Target="../slideLayouts/slideLayout393.xml"/><Relationship Id="rId38" Type="http://schemas.openxmlformats.org/officeDocument/2006/relationships/slideLayout" Target="../slideLayouts/slideLayout398.xml"/><Relationship Id="rId46" Type="http://schemas.openxmlformats.org/officeDocument/2006/relationships/slideLayout" Target="../slideLayouts/slideLayout406.xml"/><Relationship Id="rId59" Type="http://schemas.openxmlformats.org/officeDocument/2006/relationships/slideLayout" Target="../slideLayouts/slideLayout419.xml"/><Relationship Id="rId20" Type="http://schemas.openxmlformats.org/officeDocument/2006/relationships/slideLayout" Target="../slideLayouts/slideLayout380.xml"/><Relationship Id="rId41" Type="http://schemas.openxmlformats.org/officeDocument/2006/relationships/slideLayout" Target="../slideLayouts/slideLayout401.xml"/><Relationship Id="rId54" Type="http://schemas.openxmlformats.org/officeDocument/2006/relationships/slideLayout" Target="../slideLayouts/slideLayout414.xml"/><Relationship Id="rId62" Type="http://schemas.openxmlformats.org/officeDocument/2006/relationships/slideLayout" Target="../slideLayouts/slideLayout422.xml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5.xml"/><Relationship Id="rId23" Type="http://schemas.openxmlformats.org/officeDocument/2006/relationships/slideLayout" Target="../slideLayouts/slideLayout383.xml"/><Relationship Id="rId28" Type="http://schemas.openxmlformats.org/officeDocument/2006/relationships/slideLayout" Target="../slideLayouts/slideLayout388.xml"/><Relationship Id="rId36" Type="http://schemas.openxmlformats.org/officeDocument/2006/relationships/slideLayout" Target="../slideLayouts/slideLayout396.xml"/><Relationship Id="rId49" Type="http://schemas.openxmlformats.org/officeDocument/2006/relationships/slideLayout" Target="../slideLayouts/slideLayout409.xml"/><Relationship Id="rId57" Type="http://schemas.openxmlformats.org/officeDocument/2006/relationships/slideLayout" Target="../slideLayouts/slideLayout417.xml"/><Relationship Id="rId10" Type="http://schemas.openxmlformats.org/officeDocument/2006/relationships/slideLayout" Target="../slideLayouts/slideLayout370.xml"/><Relationship Id="rId31" Type="http://schemas.openxmlformats.org/officeDocument/2006/relationships/slideLayout" Target="../slideLayouts/slideLayout391.xml"/><Relationship Id="rId44" Type="http://schemas.openxmlformats.org/officeDocument/2006/relationships/slideLayout" Target="../slideLayouts/slideLayout404.xml"/><Relationship Id="rId52" Type="http://schemas.openxmlformats.org/officeDocument/2006/relationships/slideLayout" Target="../slideLayouts/slideLayout412.xml"/><Relationship Id="rId60" Type="http://schemas.openxmlformats.org/officeDocument/2006/relationships/slideLayout" Target="../slideLayouts/slideLayout420.xml"/><Relationship Id="rId65" Type="http://schemas.openxmlformats.org/officeDocument/2006/relationships/oleObject" Target="../embeddings/oleObject61.bin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Relationship Id="rId13" Type="http://schemas.openxmlformats.org/officeDocument/2006/relationships/slideLayout" Target="../slideLayouts/slideLayout373.xml"/><Relationship Id="rId18" Type="http://schemas.openxmlformats.org/officeDocument/2006/relationships/slideLayout" Target="../slideLayouts/slideLayout378.xml"/><Relationship Id="rId39" Type="http://schemas.openxmlformats.org/officeDocument/2006/relationships/slideLayout" Target="../slideLayouts/slideLayout399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5.xml"/><Relationship Id="rId18" Type="http://schemas.openxmlformats.org/officeDocument/2006/relationships/slideLayout" Target="../slideLayouts/slideLayout440.xml"/><Relationship Id="rId26" Type="http://schemas.openxmlformats.org/officeDocument/2006/relationships/slideLayout" Target="../slideLayouts/slideLayout448.xml"/><Relationship Id="rId39" Type="http://schemas.openxmlformats.org/officeDocument/2006/relationships/tags" Target="../tags/tag78.xml"/><Relationship Id="rId21" Type="http://schemas.openxmlformats.org/officeDocument/2006/relationships/slideLayout" Target="../slideLayouts/slideLayout443.xml"/><Relationship Id="rId34" Type="http://schemas.openxmlformats.org/officeDocument/2006/relationships/slideLayout" Target="../slideLayouts/slideLayout456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424.xml"/><Relationship Id="rId16" Type="http://schemas.openxmlformats.org/officeDocument/2006/relationships/slideLayout" Target="../slideLayouts/slideLayout438.xml"/><Relationship Id="rId20" Type="http://schemas.openxmlformats.org/officeDocument/2006/relationships/slideLayout" Target="../slideLayouts/slideLayout442.xml"/><Relationship Id="rId29" Type="http://schemas.openxmlformats.org/officeDocument/2006/relationships/slideLayout" Target="../slideLayouts/slideLayout45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slideLayout" Target="../slideLayouts/slideLayout433.xml"/><Relationship Id="rId24" Type="http://schemas.openxmlformats.org/officeDocument/2006/relationships/slideLayout" Target="../slideLayouts/slideLayout446.xml"/><Relationship Id="rId32" Type="http://schemas.openxmlformats.org/officeDocument/2006/relationships/slideLayout" Target="../slideLayouts/slideLayout454.xml"/><Relationship Id="rId37" Type="http://schemas.openxmlformats.org/officeDocument/2006/relationships/slideLayout" Target="../slideLayouts/slideLayout459.xml"/><Relationship Id="rId40" Type="http://schemas.openxmlformats.org/officeDocument/2006/relationships/oleObject" Target="../embeddings/oleObject62.bin"/><Relationship Id="rId5" Type="http://schemas.openxmlformats.org/officeDocument/2006/relationships/slideLayout" Target="../slideLayouts/slideLayout427.xml"/><Relationship Id="rId15" Type="http://schemas.openxmlformats.org/officeDocument/2006/relationships/slideLayout" Target="../slideLayouts/slideLayout437.xml"/><Relationship Id="rId23" Type="http://schemas.openxmlformats.org/officeDocument/2006/relationships/slideLayout" Target="../slideLayouts/slideLayout445.xml"/><Relationship Id="rId28" Type="http://schemas.openxmlformats.org/officeDocument/2006/relationships/slideLayout" Target="../slideLayouts/slideLayout450.xml"/><Relationship Id="rId36" Type="http://schemas.openxmlformats.org/officeDocument/2006/relationships/slideLayout" Target="../slideLayouts/slideLayout458.xml"/><Relationship Id="rId10" Type="http://schemas.openxmlformats.org/officeDocument/2006/relationships/slideLayout" Target="../slideLayouts/slideLayout432.xml"/><Relationship Id="rId19" Type="http://schemas.openxmlformats.org/officeDocument/2006/relationships/slideLayout" Target="../slideLayouts/slideLayout441.xml"/><Relationship Id="rId31" Type="http://schemas.openxmlformats.org/officeDocument/2006/relationships/slideLayout" Target="../slideLayouts/slideLayout453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slideLayout" Target="../slideLayouts/slideLayout436.xml"/><Relationship Id="rId22" Type="http://schemas.openxmlformats.org/officeDocument/2006/relationships/slideLayout" Target="../slideLayouts/slideLayout444.xml"/><Relationship Id="rId27" Type="http://schemas.openxmlformats.org/officeDocument/2006/relationships/slideLayout" Target="../slideLayouts/slideLayout449.xml"/><Relationship Id="rId30" Type="http://schemas.openxmlformats.org/officeDocument/2006/relationships/slideLayout" Target="../slideLayouts/slideLayout452.xml"/><Relationship Id="rId35" Type="http://schemas.openxmlformats.org/officeDocument/2006/relationships/slideLayout" Target="../slideLayouts/slideLayout457.xml"/><Relationship Id="rId8" Type="http://schemas.openxmlformats.org/officeDocument/2006/relationships/slideLayout" Target="../slideLayouts/slideLayout430.xml"/><Relationship Id="rId3" Type="http://schemas.openxmlformats.org/officeDocument/2006/relationships/slideLayout" Target="../slideLayouts/slideLayout425.xml"/><Relationship Id="rId12" Type="http://schemas.openxmlformats.org/officeDocument/2006/relationships/slideLayout" Target="../slideLayouts/slideLayout434.xml"/><Relationship Id="rId17" Type="http://schemas.openxmlformats.org/officeDocument/2006/relationships/slideLayout" Target="../slideLayouts/slideLayout439.xml"/><Relationship Id="rId25" Type="http://schemas.openxmlformats.org/officeDocument/2006/relationships/slideLayout" Target="../slideLayouts/slideLayout447.xml"/><Relationship Id="rId33" Type="http://schemas.openxmlformats.org/officeDocument/2006/relationships/slideLayout" Target="../slideLayouts/slideLayout455.xml"/><Relationship Id="rId3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382" imgH="378" progId="TCLayout.ActiveDocument.1">
                  <p:embed/>
                </p:oleObj>
              </mc:Choice>
              <mc:Fallback>
                <p:oleObj name="think-cell Slide" r:id="rId72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4473" y="6584496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03" y="6494946"/>
            <a:ext cx="552782" cy="1791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73A15F9-CC75-4679-B532-C307AE3FB1A5}"/>
              </a:ext>
            </a:extLst>
          </p:cNvPr>
          <p:cNvSpPr txBox="1"/>
          <p:nvPr/>
        </p:nvSpPr>
        <p:spPr>
          <a:xfrm>
            <a:off x="9337290" y="6581714"/>
            <a:ext cx="2037183" cy="92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600">
                <a:solidFill>
                  <a:schemeClr val="bg2"/>
                </a:solidFill>
              </a:rPr>
              <a:t>©2024 Visa. All rights reserved.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0111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882" r:id="rId31"/>
    <p:sldLayoutId id="2147483883" r:id="rId32"/>
    <p:sldLayoutId id="2147483884" r:id="rId33"/>
    <p:sldLayoutId id="2147483885" r:id="rId34"/>
    <p:sldLayoutId id="2147483886" r:id="rId35"/>
    <p:sldLayoutId id="2147483887" r:id="rId36"/>
    <p:sldLayoutId id="2147483888" r:id="rId37"/>
    <p:sldLayoutId id="2147483889" r:id="rId38"/>
    <p:sldLayoutId id="2147483890" r:id="rId39"/>
    <p:sldLayoutId id="2147483891" r:id="rId40"/>
    <p:sldLayoutId id="2147483892" r:id="rId41"/>
    <p:sldLayoutId id="2147483893" r:id="rId42"/>
    <p:sldLayoutId id="2147483894" r:id="rId43"/>
    <p:sldLayoutId id="2147483895" r:id="rId44"/>
    <p:sldLayoutId id="2147483896" r:id="rId45"/>
    <p:sldLayoutId id="2147483897" r:id="rId46"/>
    <p:sldLayoutId id="2147483898" r:id="rId47"/>
    <p:sldLayoutId id="2147483899" r:id="rId48"/>
    <p:sldLayoutId id="2147483900" r:id="rId49"/>
    <p:sldLayoutId id="2147483901" r:id="rId50"/>
    <p:sldLayoutId id="2147483902" r:id="rId51"/>
    <p:sldLayoutId id="2147483903" r:id="rId52"/>
    <p:sldLayoutId id="2147483904" r:id="rId53"/>
    <p:sldLayoutId id="2147483905" r:id="rId54"/>
    <p:sldLayoutId id="2147483906" r:id="rId55"/>
    <p:sldLayoutId id="2147483907" r:id="rId56"/>
    <p:sldLayoutId id="2147483908" r:id="rId57"/>
    <p:sldLayoutId id="2147483909" r:id="rId58"/>
    <p:sldLayoutId id="2147483910" r:id="rId59"/>
    <p:sldLayoutId id="2147483911" r:id="rId60"/>
    <p:sldLayoutId id="2147483912" r:id="rId61"/>
    <p:sldLayoutId id="2147483913" r:id="rId62"/>
    <p:sldLayoutId id="2147483914" r:id="rId63"/>
    <p:sldLayoutId id="2147483915" r:id="rId64"/>
    <p:sldLayoutId id="2147483916" r:id="rId65"/>
    <p:sldLayoutId id="2147483917" r:id="rId66"/>
    <p:sldLayoutId id="2147483918" r:id="rId67"/>
    <p:sldLayoutId id="2147483919" r:id="rId68"/>
    <p:sldLayoutId id="2147483920" r:id="rId6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0" imgW="382" imgH="378" progId="TCLayout.ActiveDocument.1">
                  <p:embed/>
                </p:oleObj>
              </mc:Choice>
              <mc:Fallback>
                <p:oleObj name="think-cell Slide" r:id="rId80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8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92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  <p:sldLayoutId id="2147483961" r:id="rId40"/>
    <p:sldLayoutId id="2147483962" r:id="rId41"/>
    <p:sldLayoutId id="2147483963" r:id="rId42"/>
    <p:sldLayoutId id="2147483964" r:id="rId43"/>
    <p:sldLayoutId id="2147483965" r:id="rId44"/>
    <p:sldLayoutId id="2147483966" r:id="rId45"/>
    <p:sldLayoutId id="2147483967" r:id="rId46"/>
    <p:sldLayoutId id="2147483968" r:id="rId47"/>
    <p:sldLayoutId id="2147483969" r:id="rId48"/>
    <p:sldLayoutId id="2147483970" r:id="rId49"/>
    <p:sldLayoutId id="2147483971" r:id="rId50"/>
    <p:sldLayoutId id="2147483972" r:id="rId51"/>
    <p:sldLayoutId id="2147483973" r:id="rId52"/>
    <p:sldLayoutId id="2147483974" r:id="rId53"/>
    <p:sldLayoutId id="2147483975" r:id="rId54"/>
    <p:sldLayoutId id="2147483976" r:id="rId55"/>
    <p:sldLayoutId id="2147483977" r:id="rId56"/>
    <p:sldLayoutId id="2147483978" r:id="rId57"/>
    <p:sldLayoutId id="2147483979" r:id="rId58"/>
    <p:sldLayoutId id="2147483980" r:id="rId59"/>
    <p:sldLayoutId id="2147483981" r:id="rId60"/>
    <p:sldLayoutId id="2147483982" r:id="rId61"/>
    <p:sldLayoutId id="2147483983" r:id="rId62"/>
    <p:sldLayoutId id="2147483984" r:id="rId63"/>
    <p:sldLayoutId id="2147483985" r:id="rId64"/>
    <p:sldLayoutId id="2147483986" r:id="rId65"/>
    <p:sldLayoutId id="2147483987" r:id="rId66"/>
    <p:sldLayoutId id="2147483988" r:id="rId67"/>
    <p:sldLayoutId id="2147483989" r:id="rId68"/>
    <p:sldLayoutId id="2147483990" r:id="rId69"/>
    <p:sldLayoutId id="2147483991" r:id="rId70"/>
    <p:sldLayoutId id="2147483992" r:id="rId71"/>
    <p:sldLayoutId id="2147483993" r:id="rId72"/>
    <p:sldLayoutId id="2147483994" r:id="rId73"/>
    <p:sldLayoutId id="2147483995" r:id="rId74"/>
    <p:sldLayoutId id="2147484074" r:id="rId75"/>
    <p:sldLayoutId id="2147484292" r:id="rId76"/>
    <p:sldLayoutId id="2147484293" r:id="rId7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382" imgH="378" progId="TCLayout.ActiveDocument.1">
                  <p:embed/>
                </p:oleObj>
              </mc:Choice>
              <mc:Fallback>
                <p:oleObj name="think-cell Slide" r:id="rId77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7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26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14" r:id="rId18"/>
    <p:sldLayoutId id="2147484015" r:id="rId19"/>
    <p:sldLayoutId id="2147484016" r:id="rId20"/>
    <p:sldLayoutId id="2147484017" r:id="rId21"/>
    <p:sldLayoutId id="2147484018" r:id="rId22"/>
    <p:sldLayoutId id="2147484019" r:id="rId23"/>
    <p:sldLayoutId id="2147484020" r:id="rId24"/>
    <p:sldLayoutId id="2147484021" r:id="rId25"/>
    <p:sldLayoutId id="2147484022" r:id="rId26"/>
    <p:sldLayoutId id="2147484023" r:id="rId27"/>
    <p:sldLayoutId id="2147484024" r:id="rId28"/>
    <p:sldLayoutId id="2147484025" r:id="rId29"/>
    <p:sldLayoutId id="2147484026" r:id="rId30"/>
    <p:sldLayoutId id="2147484027" r:id="rId31"/>
    <p:sldLayoutId id="2147484028" r:id="rId32"/>
    <p:sldLayoutId id="2147484029" r:id="rId33"/>
    <p:sldLayoutId id="2147484030" r:id="rId34"/>
    <p:sldLayoutId id="2147484031" r:id="rId35"/>
    <p:sldLayoutId id="2147484032" r:id="rId36"/>
    <p:sldLayoutId id="2147484033" r:id="rId37"/>
    <p:sldLayoutId id="2147484034" r:id="rId38"/>
    <p:sldLayoutId id="2147484035" r:id="rId39"/>
    <p:sldLayoutId id="2147484036" r:id="rId40"/>
    <p:sldLayoutId id="2147484037" r:id="rId41"/>
    <p:sldLayoutId id="2147484038" r:id="rId42"/>
    <p:sldLayoutId id="2147484039" r:id="rId43"/>
    <p:sldLayoutId id="2147484040" r:id="rId44"/>
    <p:sldLayoutId id="2147484041" r:id="rId45"/>
    <p:sldLayoutId id="2147484042" r:id="rId46"/>
    <p:sldLayoutId id="2147484043" r:id="rId47"/>
    <p:sldLayoutId id="2147484044" r:id="rId48"/>
    <p:sldLayoutId id="2147484045" r:id="rId49"/>
    <p:sldLayoutId id="2147484046" r:id="rId50"/>
    <p:sldLayoutId id="2147484047" r:id="rId51"/>
    <p:sldLayoutId id="2147484048" r:id="rId52"/>
    <p:sldLayoutId id="2147484049" r:id="rId53"/>
    <p:sldLayoutId id="2147484050" r:id="rId54"/>
    <p:sldLayoutId id="2147484051" r:id="rId55"/>
    <p:sldLayoutId id="2147484052" r:id="rId56"/>
    <p:sldLayoutId id="2147484053" r:id="rId57"/>
    <p:sldLayoutId id="2147484054" r:id="rId58"/>
    <p:sldLayoutId id="2147484055" r:id="rId59"/>
    <p:sldLayoutId id="2147484056" r:id="rId60"/>
    <p:sldLayoutId id="2147484057" r:id="rId61"/>
    <p:sldLayoutId id="2147484058" r:id="rId62"/>
    <p:sldLayoutId id="2147484059" r:id="rId63"/>
    <p:sldLayoutId id="2147484060" r:id="rId64"/>
    <p:sldLayoutId id="2147484061" r:id="rId65"/>
    <p:sldLayoutId id="2147484062" r:id="rId66"/>
    <p:sldLayoutId id="2147484063" r:id="rId67"/>
    <p:sldLayoutId id="2147484064" r:id="rId68"/>
    <p:sldLayoutId id="2147484065" r:id="rId69"/>
    <p:sldLayoutId id="2147484066" r:id="rId70"/>
    <p:sldLayoutId id="2147484067" r:id="rId71"/>
    <p:sldLayoutId id="2147484068" r:id="rId72"/>
    <p:sldLayoutId id="2147484069" r:id="rId73"/>
    <p:sldLayoutId id="2147484070" r:id="rId7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1E99AB-8390-466D-8814-82730D2E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195242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395" imgH="394" progId="TCLayout.ActiveDocument.1">
                  <p:embed/>
                </p:oleObj>
              </mc:Choice>
              <mc:Fallback>
                <p:oleObj name="think-cell Slide" r:id="rId6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71E99AB-8390-466D-8814-82730D2E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443094CB-54FA-487B-996F-680132A45C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32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  <p:sldLayoutId id="2147484093" r:id="rId13"/>
    <p:sldLayoutId id="2147484094" r:id="rId14"/>
    <p:sldLayoutId id="2147484095" r:id="rId15"/>
    <p:sldLayoutId id="2147484096" r:id="rId16"/>
    <p:sldLayoutId id="2147484097" r:id="rId17"/>
    <p:sldLayoutId id="2147484098" r:id="rId18"/>
    <p:sldLayoutId id="2147484099" r:id="rId19"/>
    <p:sldLayoutId id="2147484100" r:id="rId20"/>
    <p:sldLayoutId id="2147484101" r:id="rId21"/>
    <p:sldLayoutId id="2147484102" r:id="rId22"/>
    <p:sldLayoutId id="2147484103" r:id="rId23"/>
    <p:sldLayoutId id="2147484104" r:id="rId24"/>
    <p:sldLayoutId id="2147484105" r:id="rId25"/>
    <p:sldLayoutId id="2147484106" r:id="rId26"/>
    <p:sldLayoutId id="2147484107" r:id="rId27"/>
    <p:sldLayoutId id="2147484108" r:id="rId28"/>
    <p:sldLayoutId id="2147484109" r:id="rId29"/>
    <p:sldLayoutId id="2147484110" r:id="rId30"/>
    <p:sldLayoutId id="2147484111" r:id="rId31"/>
    <p:sldLayoutId id="2147484112" r:id="rId32"/>
    <p:sldLayoutId id="2147484113" r:id="rId33"/>
    <p:sldLayoutId id="2147484114" r:id="rId34"/>
    <p:sldLayoutId id="2147484115" r:id="rId35"/>
    <p:sldLayoutId id="2147484116" r:id="rId36"/>
    <p:sldLayoutId id="2147484117" r:id="rId37"/>
    <p:sldLayoutId id="2147484118" r:id="rId38"/>
    <p:sldLayoutId id="2147484119" r:id="rId39"/>
    <p:sldLayoutId id="2147484120" r:id="rId40"/>
    <p:sldLayoutId id="2147484121" r:id="rId41"/>
    <p:sldLayoutId id="2147484122" r:id="rId42"/>
    <p:sldLayoutId id="2147484123" r:id="rId43"/>
    <p:sldLayoutId id="2147484124" r:id="rId44"/>
    <p:sldLayoutId id="2147484125" r:id="rId45"/>
    <p:sldLayoutId id="2147484126" r:id="rId46"/>
    <p:sldLayoutId id="2147484127" r:id="rId47"/>
    <p:sldLayoutId id="2147484128" r:id="rId48"/>
    <p:sldLayoutId id="2147484129" r:id="rId49"/>
    <p:sldLayoutId id="2147484130" r:id="rId50"/>
    <p:sldLayoutId id="2147484131" r:id="rId51"/>
    <p:sldLayoutId id="2147484132" r:id="rId52"/>
    <p:sldLayoutId id="2147484133" r:id="rId53"/>
    <p:sldLayoutId id="2147484134" r:id="rId54"/>
    <p:sldLayoutId id="2147484135" r:id="rId55"/>
    <p:sldLayoutId id="2147484136" r:id="rId56"/>
    <p:sldLayoutId id="2147484137" r:id="rId57"/>
    <p:sldLayoutId id="2147484138" r:id="rId58"/>
    <p:sldLayoutId id="2147484139" r:id="rId59"/>
    <p:sldLayoutId id="2147484140" r:id="rId60"/>
    <p:sldLayoutId id="2147484141" r:id="rId61"/>
    <p:sldLayoutId id="2147484143" r:id="rId6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88E937-4529-48C3-9744-49132CEE69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3300657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1" imgW="395" imgH="394" progId="TCLayout.ActiveDocument.1">
                  <p:embed/>
                </p:oleObj>
              </mc:Choice>
              <mc:Fallback>
                <p:oleObj name="think-cell Slide" r:id="rId8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F88E937-4529-48C3-9744-49132CEE69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9466916A-1A85-4539-B42A-68ACEF8D2CF9}" type="slidenum">
              <a:rPr lang="en-US" smtClean="0"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B0F8D4-780D-4C46-94A9-39370079E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494946"/>
            <a:ext cx="7543800" cy="226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 Visa Consulting and Analytics  |  Hudson River CCU   |   Consumer Debit Assessment Final Readout  |  Visa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9586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  <p:sldLayoutId id="2147484154" r:id="rId10"/>
    <p:sldLayoutId id="2147484155" r:id="rId11"/>
    <p:sldLayoutId id="2147484156" r:id="rId12"/>
    <p:sldLayoutId id="2147484157" r:id="rId13"/>
    <p:sldLayoutId id="2147484158" r:id="rId14"/>
    <p:sldLayoutId id="2147484159" r:id="rId15"/>
    <p:sldLayoutId id="2147484160" r:id="rId16"/>
    <p:sldLayoutId id="2147484161" r:id="rId17"/>
    <p:sldLayoutId id="2147484162" r:id="rId18"/>
    <p:sldLayoutId id="2147484163" r:id="rId19"/>
    <p:sldLayoutId id="2147484164" r:id="rId20"/>
    <p:sldLayoutId id="2147484165" r:id="rId21"/>
    <p:sldLayoutId id="2147484166" r:id="rId22"/>
    <p:sldLayoutId id="2147484167" r:id="rId23"/>
    <p:sldLayoutId id="2147484168" r:id="rId24"/>
    <p:sldLayoutId id="2147484169" r:id="rId25"/>
    <p:sldLayoutId id="2147484170" r:id="rId26"/>
    <p:sldLayoutId id="2147484171" r:id="rId27"/>
    <p:sldLayoutId id="2147484172" r:id="rId28"/>
    <p:sldLayoutId id="2147484173" r:id="rId29"/>
    <p:sldLayoutId id="2147484174" r:id="rId30"/>
    <p:sldLayoutId id="2147484175" r:id="rId31"/>
    <p:sldLayoutId id="2147484176" r:id="rId32"/>
    <p:sldLayoutId id="2147484177" r:id="rId33"/>
    <p:sldLayoutId id="2147484178" r:id="rId34"/>
    <p:sldLayoutId id="2147484179" r:id="rId35"/>
    <p:sldLayoutId id="2147484180" r:id="rId36"/>
    <p:sldLayoutId id="2147484181" r:id="rId37"/>
    <p:sldLayoutId id="2147484182" r:id="rId38"/>
    <p:sldLayoutId id="2147484183" r:id="rId39"/>
    <p:sldLayoutId id="2147484184" r:id="rId40"/>
    <p:sldLayoutId id="2147484185" r:id="rId41"/>
    <p:sldLayoutId id="2147484186" r:id="rId42"/>
    <p:sldLayoutId id="2147484187" r:id="rId43"/>
    <p:sldLayoutId id="2147484188" r:id="rId44"/>
    <p:sldLayoutId id="2147484189" r:id="rId45"/>
    <p:sldLayoutId id="2147484190" r:id="rId46"/>
    <p:sldLayoutId id="2147484191" r:id="rId47"/>
    <p:sldLayoutId id="2147484192" r:id="rId48"/>
    <p:sldLayoutId id="2147484193" r:id="rId49"/>
    <p:sldLayoutId id="2147484194" r:id="rId50"/>
    <p:sldLayoutId id="2147484195" r:id="rId51"/>
    <p:sldLayoutId id="2147484196" r:id="rId52"/>
    <p:sldLayoutId id="2147484197" r:id="rId53"/>
    <p:sldLayoutId id="2147484198" r:id="rId54"/>
    <p:sldLayoutId id="2147484199" r:id="rId55"/>
    <p:sldLayoutId id="2147484200" r:id="rId56"/>
    <p:sldLayoutId id="2147484201" r:id="rId57"/>
    <p:sldLayoutId id="2147484202" r:id="rId58"/>
    <p:sldLayoutId id="2147484203" r:id="rId59"/>
    <p:sldLayoutId id="2147484204" r:id="rId60"/>
    <p:sldLayoutId id="2147484205" r:id="rId61"/>
    <p:sldLayoutId id="2147484206" r:id="rId62"/>
    <p:sldLayoutId id="2147484207" r:id="rId63"/>
    <p:sldLayoutId id="2147484208" r:id="rId64"/>
    <p:sldLayoutId id="2147484209" r:id="rId65"/>
    <p:sldLayoutId id="2147484210" r:id="rId66"/>
    <p:sldLayoutId id="2147484211" r:id="rId67"/>
    <p:sldLayoutId id="2147484212" r:id="rId68"/>
    <p:sldLayoutId id="2147484213" r:id="rId69"/>
    <p:sldLayoutId id="2147484214" r:id="rId70"/>
    <p:sldLayoutId id="2147484215" r:id="rId71"/>
    <p:sldLayoutId id="2147484216" r:id="rId72"/>
    <p:sldLayoutId id="2147484217" r:id="rId73"/>
    <p:sldLayoutId id="2147484218" r:id="rId74"/>
    <p:sldLayoutId id="2147484219" r:id="rId75"/>
    <p:sldLayoutId id="2147484220" r:id="rId76"/>
    <p:sldLayoutId id="2147484221" r:id="rId77"/>
    <p:sldLayoutId id="2147484222" r:id="rId7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EC69FC-E26F-41CE-A544-A380CD7BF1D0}"/>
              </a:ext>
            </a:extLst>
          </p:cNvPr>
          <p:cNvGraphicFramePr>
            <a:graphicFrameLocks noChangeAspect="1"/>
          </p:cNvGraphicFramePr>
          <p:nvPr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2261848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395" imgH="394" progId="TCLayout.ActiveDocument.1">
                  <p:embed/>
                </p:oleObj>
              </mc:Choice>
              <mc:Fallback>
                <p:oleObj name="think-cell Slide" r:id="rId6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EC69FC-E26F-41CE-A544-A380CD7BF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7CF0D62C-B364-48C5-A934-2F757D945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915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  <p:sldLayoutId id="2147484233" r:id="rId9"/>
    <p:sldLayoutId id="2147484234" r:id="rId10"/>
    <p:sldLayoutId id="2147484235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2" r:id="rId18"/>
    <p:sldLayoutId id="2147484243" r:id="rId19"/>
    <p:sldLayoutId id="2147484244" r:id="rId20"/>
    <p:sldLayoutId id="2147484245" r:id="rId21"/>
    <p:sldLayoutId id="2147484246" r:id="rId22"/>
    <p:sldLayoutId id="2147484247" r:id="rId23"/>
    <p:sldLayoutId id="2147484248" r:id="rId24"/>
    <p:sldLayoutId id="2147484249" r:id="rId25"/>
    <p:sldLayoutId id="2147484250" r:id="rId26"/>
    <p:sldLayoutId id="2147484251" r:id="rId27"/>
    <p:sldLayoutId id="2147484252" r:id="rId28"/>
    <p:sldLayoutId id="2147484253" r:id="rId29"/>
    <p:sldLayoutId id="2147484254" r:id="rId30"/>
    <p:sldLayoutId id="2147484255" r:id="rId31"/>
    <p:sldLayoutId id="2147484256" r:id="rId32"/>
    <p:sldLayoutId id="2147484257" r:id="rId33"/>
    <p:sldLayoutId id="2147484258" r:id="rId34"/>
    <p:sldLayoutId id="2147484259" r:id="rId35"/>
    <p:sldLayoutId id="2147484260" r:id="rId36"/>
    <p:sldLayoutId id="2147484261" r:id="rId37"/>
    <p:sldLayoutId id="2147484262" r:id="rId38"/>
    <p:sldLayoutId id="2147484263" r:id="rId39"/>
    <p:sldLayoutId id="2147484264" r:id="rId40"/>
    <p:sldLayoutId id="2147484265" r:id="rId41"/>
    <p:sldLayoutId id="2147484266" r:id="rId42"/>
    <p:sldLayoutId id="2147484267" r:id="rId43"/>
    <p:sldLayoutId id="2147484268" r:id="rId44"/>
    <p:sldLayoutId id="2147484269" r:id="rId45"/>
    <p:sldLayoutId id="2147484270" r:id="rId46"/>
    <p:sldLayoutId id="2147484271" r:id="rId47"/>
    <p:sldLayoutId id="2147484272" r:id="rId48"/>
    <p:sldLayoutId id="2147484273" r:id="rId49"/>
    <p:sldLayoutId id="2147484274" r:id="rId50"/>
    <p:sldLayoutId id="2147484275" r:id="rId51"/>
    <p:sldLayoutId id="2147484276" r:id="rId52"/>
    <p:sldLayoutId id="2147484277" r:id="rId53"/>
    <p:sldLayoutId id="2147484278" r:id="rId54"/>
    <p:sldLayoutId id="2147484279" r:id="rId55"/>
    <p:sldLayoutId id="2147484280" r:id="rId56"/>
    <p:sldLayoutId id="2147484281" r:id="rId57"/>
    <p:sldLayoutId id="2147484282" r:id="rId58"/>
    <p:sldLayoutId id="2147484283" r:id="rId59"/>
    <p:sldLayoutId id="2147484284" r:id="rId60"/>
    <p:sldLayoutId id="2147484285" r:id="rId61"/>
    <p:sldLayoutId id="2147484286" r:id="rId6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AA0957-8BBE-40A1-8D81-C643AB6A3FD3}"/>
              </a:ext>
            </a:extLst>
          </p:cNvPr>
          <p:cNvGraphicFramePr>
            <a:graphicFrameLocks noChangeAspect="1"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74312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82" imgH="378" progId="TCLayout.ActiveDocument.1">
                  <p:embed/>
                </p:oleObj>
              </mc:Choice>
              <mc:Fallback>
                <p:oleObj name="think-cell Slide" r:id="rId40" imgW="382" imgH="3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AA0957-8BBE-40A1-8D81-C643AB6A3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7E9FA70-309C-4513-AA5C-F8E9D7A6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1216141"/>
          </a:xfrm>
          <a:prstGeom prst="rect">
            <a:avLst/>
          </a:prstGeom>
        </p:spPr>
        <p:txBody>
          <a:bodyPr vert="horz" lIns="0" tIns="0" rIns="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5CFE63-E3DA-4DAA-B663-2681396B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610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20BABB60-2C30-4A0C-9D66-F7B681BBC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876" y="6400799"/>
            <a:ext cx="567524" cy="94147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+mn-lt"/>
                <a:cs typeface="Aldhabi" panose="020B0604020202020204" pitchFamily="2" charset="-78"/>
              </a:defRPr>
            </a:lvl1pPr>
          </a:lstStyle>
          <a:p>
            <a:fld id="{F4246F8F-FAA8-46C5-BC54-A96E0370B4C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FA326248-0F97-48D9-A2A0-31FCD05D44AF}"/>
              </a:ext>
            </a:extLst>
          </p:cNvPr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" y="6297899"/>
            <a:ext cx="552782" cy="17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13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  <p:sldLayoutId id="2147484333" r:id="rId12"/>
    <p:sldLayoutId id="2147484334" r:id="rId13"/>
    <p:sldLayoutId id="2147484335" r:id="rId14"/>
    <p:sldLayoutId id="2147484336" r:id="rId15"/>
    <p:sldLayoutId id="2147484337" r:id="rId16"/>
    <p:sldLayoutId id="2147484338" r:id="rId17"/>
    <p:sldLayoutId id="2147484339" r:id="rId18"/>
    <p:sldLayoutId id="2147484340" r:id="rId19"/>
    <p:sldLayoutId id="2147484341" r:id="rId20"/>
    <p:sldLayoutId id="2147484342" r:id="rId21"/>
    <p:sldLayoutId id="2147484343" r:id="rId22"/>
    <p:sldLayoutId id="2147484344" r:id="rId23"/>
    <p:sldLayoutId id="2147484345" r:id="rId24"/>
    <p:sldLayoutId id="2147484346" r:id="rId25"/>
    <p:sldLayoutId id="2147484347" r:id="rId26"/>
    <p:sldLayoutId id="2147484349" r:id="rId27"/>
    <p:sldLayoutId id="2147484350" r:id="rId28"/>
    <p:sldLayoutId id="2147484351" r:id="rId29"/>
    <p:sldLayoutId id="2147484352" r:id="rId30"/>
    <p:sldLayoutId id="2147484353" r:id="rId31"/>
    <p:sldLayoutId id="2147484354" r:id="rId32"/>
    <p:sldLayoutId id="2147484355" r:id="rId33"/>
    <p:sldLayoutId id="2147484356" r:id="rId34"/>
    <p:sldLayoutId id="2147484357" r:id="rId35"/>
    <p:sldLayoutId id="2147484358" r:id="rId36"/>
    <p:sldLayoutId id="2147484359" r:id="rId3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2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600"/>
        </a:spcBef>
        <a:buFont typeface="Visa Dialect Regular" pitchFamily="2" charset="0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2950" indent="-280988" algn="l" defTabSz="914400" rtl="0" eaLnBrk="1" latinLnBrk="0" hangingPunct="1">
        <a:lnSpc>
          <a:spcPct val="100000"/>
        </a:lnSpc>
        <a:spcBef>
          <a:spcPts val="6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33463" indent="-290513" algn="l" defTabSz="914400" rtl="0" eaLnBrk="1" latinLnBrk="0" hangingPunct="1">
        <a:lnSpc>
          <a:spcPct val="100000"/>
        </a:lnSpc>
        <a:spcBef>
          <a:spcPts val="500"/>
        </a:spcBef>
        <a:buFont typeface="Visa Dialect Regular"/>
        <a:buChar char="—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">
          <p15:clr>
            <a:srgbClr val="F26B43"/>
          </p15:clr>
        </p15:guide>
        <p15:guide id="9" pos="7296">
          <p15:clr>
            <a:srgbClr val="F26B43"/>
          </p15:clr>
        </p15:guide>
        <p15:guide id="10" orient="horz" pos="408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88">
          <p15:clr>
            <a:srgbClr val="F26B43"/>
          </p15:clr>
        </p15:guide>
        <p15:guide id="13" orient="horz" pos="1008">
          <p15:clr>
            <a:srgbClr val="F26B43"/>
          </p15:clr>
        </p15:guide>
        <p15:guide id="14" orient="horz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tags" Target="../tags/tag99.xml"/><Relationship Id="rId7" Type="http://schemas.openxmlformats.org/officeDocument/2006/relationships/image" Target="../media/image72.png"/><Relationship Id="rId12" Type="http://schemas.openxmlformats.org/officeDocument/2006/relationships/chart" Target="../charts/chart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1.xml"/><Relationship Id="rId11" Type="http://schemas.openxmlformats.org/officeDocument/2006/relationships/chart" Target="../charts/chart1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75.svg"/><Relationship Id="rId4" Type="http://schemas.openxmlformats.org/officeDocument/2006/relationships/tags" Target="../tags/tag100.xml"/><Relationship Id="rId9" Type="http://schemas.openxmlformats.org/officeDocument/2006/relationships/image" Target="../media/image7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84F3C32E-2996-82E9-BA58-6CAA76A7F47A}"/>
              </a:ext>
            </a:extLst>
          </p:cNvPr>
          <p:cNvSpPr/>
          <p:nvPr/>
        </p:nvSpPr>
        <p:spPr>
          <a:xfrm>
            <a:off x="6159458" y="1495425"/>
            <a:ext cx="5425799" cy="474980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508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6993BC-B0BB-6A0B-0AEE-C4194BA9FB6B}"/>
              </a:ext>
            </a:extLst>
          </p:cNvPr>
          <p:cNvSpPr txBox="1"/>
          <p:nvPr/>
        </p:nvSpPr>
        <p:spPr>
          <a:xfrm>
            <a:off x="606743" y="1502045"/>
            <a:ext cx="5116699" cy="474318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508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 anchor="t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32F82C5-E977-BB6D-B1AF-368CD94DCEC7}"/>
              </a:ext>
            </a:extLst>
          </p:cNvPr>
          <p:cNvGrpSpPr/>
          <p:nvPr/>
        </p:nvGrpSpPr>
        <p:grpSpPr>
          <a:xfrm>
            <a:off x="421261" y="1235075"/>
            <a:ext cx="9252964" cy="463550"/>
            <a:chOff x="421261" y="3711575"/>
            <a:chExt cx="9252964" cy="463550"/>
          </a:xfrm>
        </p:grpSpPr>
        <p:sp>
          <p:nvSpPr>
            <p:cNvPr id="8" name="Arrow: Pentagon 236">
              <a:extLst>
                <a:ext uri="{FF2B5EF4-FFF2-40B4-BE49-F238E27FC236}">
                  <a16:creationId xmlns:a16="http://schemas.microsoft.com/office/drawing/2014/main" id="{C336F1F4-D155-EE52-AD7E-F8FC20C05C1E}"/>
                </a:ext>
              </a:extLst>
            </p:cNvPr>
            <p:cNvSpPr/>
            <p:nvPr/>
          </p:nvSpPr>
          <p:spPr>
            <a:xfrm>
              <a:off x="851382" y="3829050"/>
              <a:ext cx="3277546" cy="257175"/>
            </a:xfrm>
            <a:prstGeom prst="homePlate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1437117-25BF-133A-8192-16942B3A5006}"/>
                </a:ext>
              </a:extLst>
            </p:cNvPr>
            <p:cNvSpPr txBox="1"/>
            <p:nvPr/>
          </p:nvSpPr>
          <p:spPr>
            <a:xfrm>
              <a:off x="1002275" y="3876675"/>
              <a:ext cx="3414583" cy="1698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W Penetration</a:t>
              </a:r>
            </a:p>
          </p:txBody>
        </p:sp>
        <p:sp>
          <p:nvSpPr>
            <p:cNvPr id="10" name="Arrow: Pentagon 236">
              <a:extLst>
                <a:ext uri="{FF2B5EF4-FFF2-40B4-BE49-F238E27FC236}">
                  <a16:creationId xmlns:a16="http://schemas.microsoft.com/office/drawing/2014/main" id="{716DEC07-B382-37CD-DEC7-ABD10FA04BB7}"/>
                </a:ext>
              </a:extLst>
            </p:cNvPr>
            <p:cNvSpPr/>
            <p:nvPr/>
          </p:nvSpPr>
          <p:spPr>
            <a:xfrm>
              <a:off x="6342904" y="3836988"/>
              <a:ext cx="3331321" cy="258763"/>
            </a:xfrm>
            <a:prstGeom prst="homePlate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1CBC34A-F852-3204-DB9F-CCAAEDA4C708}"/>
                </a:ext>
              </a:extLst>
            </p:cNvPr>
            <p:cNvSpPr txBox="1"/>
            <p:nvPr/>
          </p:nvSpPr>
          <p:spPr>
            <a:xfrm>
              <a:off x="6486975" y="3881438"/>
              <a:ext cx="2844777" cy="1698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>
                <a:defRPr/>
              </a:pPr>
              <a:r>
                <a:rPr lang="en-US" sz="1100" b="1">
                  <a:solidFill>
                    <a:prstClr val="white"/>
                  </a:solidFill>
                  <a:latin typeface="+mj-lt"/>
                </a:rPr>
                <a:t>TOW vs. Non-TOW Spend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0A73243-C8FA-7887-BE23-5A33A1015B43}"/>
                </a:ext>
              </a:extLst>
            </p:cNvPr>
            <p:cNvGrpSpPr/>
            <p:nvPr/>
          </p:nvGrpSpPr>
          <p:grpSpPr>
            <a:xfrm>
              <a:off x="421261" y="3717925"/>
              <a:ext cx="457200" cy="457200"/>
              <a:chOff x="222807" y="3330882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378AE01A-B09E-682C-F1BD-24BF5735C691}"/>
                  </a:ext>
                </a:extLst>
              </p:cNvPr>
              <p:cNvSpPr/>
              <p:nvPr/>
            </p:nvSpPr>
            <p:spPr>
              <a:xfrm>
                <a:off x="222807" y="3330882"/>
                <a:ext cx="457200" cy="4572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C542DEF6-8C6A-B37F-6AA6-180BC6B2BC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14247" y="3422322"/>
                <a:ext cx="274320" cy="274320"/>
              </a:xfrm>
              <a:prstGeom prst="rect">
                <a:avLst/>
              </a:prstGeom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CA74F84-505F-DE8C-6DF5-CE907C22AFC5}"/>
                </a:ext>
              </a:extLst>
            </p:cNvPr>
            <p:cNvGrpSpPr/>
            <p:nvPr/>
          </p:nvGrpSpPr>
          <p:grpSpPr>
            <a:xfrm>
              <a:off x="5928221" y="3711575"/>
              <a:ext cx="457200" cy="457200"/>
              <a:chOff x="5962368" y="3321356"/>
              <a:chExt cx="457200" cy="457200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2FD53D28-554E-002B-8769-8938A7761113}"/>
                  </a:ext>
                </a:extLst>
              </p:cNvPr>
              <p:cNvSpPr/>
              <p:nvPr/>
            </p:nvSpPr>
            <p:spPr>
              <a:xfrm>
                <a:off x="5962368" y="3321356"/>
                <a:ext cx="457200" cy="4572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34A2404E-3043-D5FE-ADEC-668C4B2ADC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053808" y="3412796"/>
                <a:ext cx="274320" cy="274320"/>
              </a:xfrm>
              <a:prstGeom prst="rect">
                <a:avLst/>
              </a:prstGeom>
            </p:spPr>
          </p:pic>
        </p:grpSp>
      </p:grpSp>
      <p:graphicFrame>
        <p:nvGraphicFramePr>
          <p:cNvPr id="5" name="towPenetration">
            <a:extLst>
              <a:ext uri="{FF2B5EF4-FFF2-40B4-BE49-F238E27FC236}">
                <a16:creationId xmlns:a16="http://schemas.microsoft.com/office/drawing/2014/main" id="{8AF60D54-EB00-4C61-E17C-C8704B3E0C64}"/>
              </a:ext>
            </a:extLst>
          </p:cNvPr>
          <p:cNvGraphicFramePr/>
          <p:nvPr/>
        </p:nvGraphicFramePr>
        <p:xfrm>
          <a:off x="635305" y="1830658"/>
          <a:ext cx="4993969" cy="4312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C33D015E-4E23-ADE2-1090-4AAE9FB57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471459"/>
            <a:ext cx="10953751" cy="528666"/>
          </a:xfrm>
        </p:spPr>
        <p:txBody>
          <a:bodyPr vert="horz" wrap="square"/>
          <a:lstStyle/>
          <a:p>
            <a:pPr>
              <a:lnSpc>
                <a:spcPct val="100000"/>
              </a:lnSpc>
            </a:pPr>
            <a:r>
              <a:rPr lang="en-US" dirty="0">
                <a:ea typeface="+mn-ea"/>
                <a:cs typeface="+mn-cs"/>
              </a:rPr>
              <a:t>Payment volume growth was similar relative to peers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58A1481-AA53-E9B8-DB59-875F8ADA3428}"/>
              </a:ext>
            </a:extLst>
          </p:cNvPr>
          <p:cNvSpPr txBox="1"/>
          <p:nvPr/>
        </p:nvSpPr>
        <p:spPr>
          <a:xfrm>
            <a:off x="635308" y="1677988"/>
            <a:ext cx="49939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Light" panose="020B0502040204020203" pitchFamily="34" charset="0"/>
              </a:rPr>
              <a:t>Top-of-wallet penetration declined and lagged peers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22" name="dataQuarter">
            <a:extLst>
              <a:ext uri="{FF2B5EF4-FFF2-40B4-BE49-F238E27FC236}">
                <a16:creationId xmlns:a16="http://schemas.microsoft.com/office/drawing/2014/main" id="{B31F028A-292D-E4E2-D205-BEA5B609F99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393227" y="6347573"/>
            <a:ext cx="6364224" cy="266700"/>
          </a:xfrm>
        </p:spPr>
        <p:txBody>
          <a:bodyPr anchor="t"/>
          <a:lstStyle/>
          <a:p>
            <a:r>
              <a:rPr lang="en-US" sz="700" dirty="0">
                <a:latin typeface="+mj-lt"/>
              </a:rPr>
              <a:t>Source: VisaNet, Q1 2024 - Q2 2024 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0A8D4C3-5DCF-DAB9-633A-3C71023489AA}"/>
              </a:ext>
            </a:extLst>
          </p:cNvPr>
          <p:cNvSpPr txBox="1"/>
          <p:nvPr/>
        </p:nvSpPr>
        <p:spPr>
          <a:xfrm>
            <a:off x="6159458" y="1720850"/>
            <a:ext cx="54257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solidFill>
                  <a:prstClr val="black"/>
                </a:solidFill>
                <a:cs typeface="Segoe UI Light" panose="020B0502040204020203" pitchFamily="34" charset="0"/>
              </a:rPr>
              <a:t>Your 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Light" panose="020B0502040204020203" pitchFamily="34" charset="0"/>
              </a:rPr>
              <a:t>op-of-wallet cardholders spend, on average,            more per year than peers</a:t>
            </a:r>
          </a:p>
        </p:txBody>
      </p:sp>
      <p:graphicFrame>
        <p:nvGraphicFramePr>
          <p:cNvPr id="3" name="comparisonSpend">
            <a:extLst>
              <a:ext uri="{FF2B5EF4-FFF2-40B4-BE49-F238E27FC236}">
                <a16:creationId xmlns:a16="http://schemas.microsoft.com/office/drawing/2014/main" id="{39779FB6-F2C1-4FB8-9414-0C4A1D504F7C}"/>
              </a:ext>
            </a:extLst>
          </p:cNvPr>
          <p:cNvGraphicFramePr/>
          <p:nvPr/>
        </p:nvGraphicFramePr>
        <p:xfrm>
          <a:off x="6782638" y="2070101"/>
          <a:ext cx="4381082" cy="4106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5DD2D78-A4FB-99F9-C621-D3A5700E41D4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 flipV="1">
            <a:off x="7560801" y="2164923"/>
            <a:ext cx="0" cy="146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0C4AE7-D867-61EE-410E-8CF11BFB53B9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7560801" y="2164923"/>
            <a:ext cx="712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CC3CECB-BBF0-7260-7BCD-D35EB562856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273589" y="2164923"/>
            <a:ext cx="0" cy="1952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pendDiff">
            <a:extLst>
              <a:ext uri="{FF2B5EF4-FFF2-40B4-BE49-F238E27FC236}">
                <a16:creationId xmlns:a16="http://schemas.microsoft.com/office/drawing/2014/main" id="{6433BAA8-06C2-0432-12DC-953C087EDCB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706851" y="2056973"/>
            <a:ext cx="420688" cy="21590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Visa Dialect Regular" pitchFamily="2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2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Visa Dialect Regular" pitchFamily="2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375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Visa Dialect Regular" pitchFamily="2" charset="0"/>
              <a:buChar char="—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2950" indent="-2809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Visa Dialect Regular"/>
              <a:buChar char="—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33463" indent="-2905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Visa Dialect Regular"/>
              <a:buChar char="—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effectLst/>
              </a:rPr>
              <a:t>$272</a:t>
            </a:r>
            <a:endParaRPr lang="en-US" sz="1000" b="1" dirty="0">
              <a:sym typeface="Segoe UI Light" panose="020B0502040204020203" pitchFamily="34" charset="0"/>
            </a:endParaRPr>
          </a:p>
        </p:txBody>
      </p:sp>
      <p:sp>
        <p:nvSpPr>
          <p:cNvPr id="24" name="avgTOWSpendDiff">
            <a:extLst>
              <a:ext uri="{FF2B5EF4-FFF2-40B4-BE49-F238E27FC236}">
                <a16:creationId xmlns:a16="http://schemas.microsoft.com/office/drawing/2014/main" id="{573EA3AD-3D87-1EE6-E74B-836369DA7795}"/>
              </a:ext>
            </a:extLst>
          </p:cNvPr>
          <p:cNvSpPr txBox="1"/>
          <p:nvPr/>
        </p:nvSpPr>
        <p:spPr>
          <a:xfrm>
            <a:off x="9279993" y="1721537"/>
            <a:ext cx="5368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264</a:t>
            </a:r>
          </a:p>
        </p:txBody>
      </p:sp>
    </p:spTree>
    <p:extLst>
      <p:ext uri="{BB962C8B-B14F-4D97-AF65-F5344CB8AC3E}">
        <p14:creationId xmlns:p14="http://schemas.microsoft.com/office/powerpoint/2010/main" val="4186038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D9&quot; b=&quot;75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mRkuZ7etgcnoRBSA81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bKxb6184pgYo9fDXr8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0MeB9RZwoDLlldnXE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zaAX4LiIQepXXUzz8A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bKxb6184pgYo9fDXr8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0MeB9RZwoDLlldnXE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zaAX4LiIQepXXUzz8A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WzCQwKTwB0Wl9TPzfp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t6pSrip9dowp1gWJy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gytoksbjVfBtw5FK47_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4Ta87uEIKtOpHxeg1V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egRd5vgPBpd5mPqeFP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v0UTrRGCScfCvk.NR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0Oa09jPhFPziHg69gk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nFO_jgjksJvTt6..64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U5M9in51gYeihaBAuu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R3JK0G9IvaMiXVDv3ok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Mrm9NiGPcmmoupil_b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oP1DOob9CzM0ig05wAA"/>
</p:tagLst>
</file>

<file path=ppt/theme/theme1.xml><?xml version="1.0" encoding="utf-8"?>
<a:theme xmlns:a="http://schemas.openxmlformats.org/drawingml/2006/main" name="VCA 2021 Theme_v2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CA 2021 Theme_v2" id="{5BA965BF-D64E-4C64-A27A-B1BB2BC19090}" vid="{1E9A1527-EB27-4C78-BEBE-03FAC353A79D}"/>
    </a:ext>
  </a:extLst>
</a:theme>
</file>

<file path=ppt/theme/theme2.xml><?xml version="1.0" encoding="utf-8"?>
<a:theme xmlns:a="http://schemas.openxmlformats.org/drawingml/2006/main" name="Visa Master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isa Master Theme" id="{94EE28B2-F449-425B-AE66-513BFB85841C}" vid="{554E5B1D-27A5-4DED-B71D-FCA8A9B718D2}"/>
    </a:ext>
  </a:extLst>
</a:theme>
</file>

<file path=ppt/theme/theme3.xml><?xml version="1.0" encoding="utf-8"?>
<a:theme xmlns:a="http://schemas.openxmlformats.org/drawingml/2006/main" name="1_Visa Master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isa Master Theme" id="{94EE28B2-F449-425B-AE66-513BFB85841C}" vid="{554E5B1D-27A5-4DED-B71D-FCA8A9B718D2}"/>
    </a:ext>
  </a:extLst>
</a:theme>
</file>

<file path=ppt/theme/theme4.xml><?xml version="1.0" encoding="utf-8"?>
<a:theme xmlns:a="http://schemas.openxmlformats.org/drawingml/2006/main" name="5_Visa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1" id="{86DFE2CD-86D2-4CAB-BFC0-3EDC025F3DA2}" vid="{8ABF057F-1332-4D09-A6E5-2B672FF0E9FD}"/>
    </a:ext>
  </a:extLst>
</a:theme>
</file>

<file path=ppt/theme/theme5.xml><?xml version="1.0" encoding="utf-8"?>
<a:theme xmlns:a="http://schemas.openxmlformats.org/drawingml/2006/main" name="Visa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CA_16x9_Template_vF  -  Read-Only" id="{BD85E8B3-0F52-48C3-B087-ABB471C347C4}" vid="{32D1E4F5-30D8-4703-B977-3B98B181F459}"/>
    </a:ext>
  </a:extLst>
</a:theme>
</file>

<file path=ppt/theme/theme6.xml><?xml version="1.0" encoding="utf-8"?>
<a:theme xmlns:a="http://schemas.openxmlformats.org/drawingml/2006/main" name="VCA 2021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CA 2021 Theme" id="{9CF2215E-6E42-4E36-8D4C-37077EB3CC3A}" vid="{64891992-BC6F-46AB-8740-B9083C966EA7}"/>
    </a:ext>
  </a:extLst>
</a:theme>
</file>

<file path=ppt/theme/theme7.xml><?xml version="1.0" encoding="utf-8"?>
<a:theme xmlns:a="http://schemas.openxmlformats.org/drawingml/2006/main" name="2_Visa Master Theme">
  <a:themeElements>
    <a:clrScheme name="Visa 2021">
      <a:dk1>
        <a:srgbClr val="000000"/>
      </a:dk1>
      <a:lt1>
        <a:srgbClr val="FFFFFF"/>
      </a:lt1>
      <a:dk2>
        <a:srgbClr val="F0F0F0"/>
      </a:dk2>
      <a:lt2>
        <a:srgbClr val="96918D"/>
      </a:lt2>
      <a:accent1>
        <a:srgbClr val="1434CB"/>
      </a:accent1>
      <a:accent2>
        <a:srgbClr val="FCC015"/>
      </a:accent2>
      <a:accent3>
        <a:srgbClr val="021E4C"/>
      </a:accent3>
      <a:accent4>
        <a:srgbClr val="2B94F5"/>
      </a:accent4>
      <a:accent5>
        <a:srgbClr val="96A6F4"/>
      </a:accent5>
      <a:accent6>
        <a:srgbClr val="CAD2F9"/>
      </a:accent6>
      <a:hlink>
        <a:srgbClr val="F7A105"/>
      </a:hlink>
      <a:folHlink>
        <a:srgbClr val="BFBFBF"/>
      </a:folHlink>
    </a:clrScheme>
    <a:fontScheme name="Visa Dialect">
      <a:majorFont>
        <a:latin typeface="Visa Dialect Semibold"/>
        <a:ea typeface=""/>
        <a:cs typeface=""/>
      </a:majorFont>
      <a:minorFont>
        <a:latin typeface="Visa Dialect Regula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Visa Blue">
      <a:srgbClr val="1434CB"/>
    </a:custClr>
    <a:custClr name="Visa Yellow">
      <a:srgbClr val="FCC015"/>
    </a:custClr>
    <a:custClr name="Visa Dark Blue">
      <a:srgbClr val="021E4C"/>
    </a:custClr>
    <a:custClr name="Ocean Blue">
      <a:srgbClr val="2B94F5"/>
    </a:custClr>
    <a:custClr name="Visa Blue 40%">
      <a:srgbClr val="97A7F5"/>
    </a:custClr>
    <a:custClr name="Visa Blue 20%">
      <a:srgbClr val="CBD3FA"/>
    </a:custClr>
    <a:custClr name="Orange">
      <a:srgbClr val="F7A105"/>
    </a:custClr>
    <a:custClr name="Light Gray">
      <a:srgbClr val="C0BDBB"/>
    </a:custClr>
    <a:custClr name="blank">
      <a:srgbClr val="FFFFFF"/>
    </a:custClr>
    <a:custClr name="blank">
      <a:srgbClr val="FFFFFF"/>
    </a:custClr>
    <a:custClr name="Visa Blue">
      <a:srgbClr val="1434CB"/>
    </a:custClr>
    <a:custClr name="Visa Blue 60%">
      <a:srgbClr val="627BF0"/>
    </a:custClr>
    <a:custClr name="Visa Blue 40%">
      <a:srgbClr val="97A7F5"/>
    </a:custClr>
    <a:custClr name="Visa Blue 20%">
      <a:srgbClr val="CBD3F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Visa Master Theme" id="{94EE28B2-F449-425B-AE66-513BFB85841C}" vid="{554E5B1D-27A5-4DED-B71D-FCA8A9B718D2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11c1625-d45f-4cae-993b-a7c42bc816ea" xsi:nil="true"/>
    <SharedWithUsers xmlns="474538fb-c54f-410b-8eb8-cedc76cc4ead">
      <UserInfo>
        <DisplayName>Mack, Susan</DisplayName>
        <AccountId>34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1F698197ECBB459E7DE073A6AA6D20" ma:contentTypeVersion="10" ma:contentTypeDescription="Create a new document." ma:contentTypeScope="" ma:versionID="9e9a8b5b0da978717f429eeabaeeb892">
  <xsd:schema xmlns:xsd="http://www.w3.org/2001/XMLSchema" xmlns:xs="http://www.w3.org/2001/XMLSchema" xmlns:p="http://schemas.microsoft.com/office/2006/metadata/properties" xmlns:ns2="c11c1625-d45f-4cae-993b-a7c42bc816ea" xmlns:ns3="474538fb-c54f-410b-8eb8-cedc76cc4ead" targetNamespace="http://schemas.microsoft.com/office/2006/metadata/properties" ma:root="true" ma:fieldsID="9dfea52d56185defca41d7213aa5541e" ns2:_="" ns3:_="">
    <xsd:import namespace="c11c1625-d45f-4cae-993b-a7c42bc816ea"/>
    <xsd:import namespace="474538fb-c54f-410b-8eb8-cedc76cc4e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1c1625-d45f-4cae-993b-a7c42bc816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4538fb-c54f-410b-8eb8-cedc76cc4ea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476AC06-BF2D-4DDA-A560-A591004DC3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C8AA66-70AB-40FC-86FA-2EE026014853}">
  <ds:schemaRefs>
    <ds:schemaRef ds:uri="http://schemas.microsoft.com/office/2006/metadata/properties"/>
    <ds:schemaRef ds:uri="474538fb-c54f-410b-8eb8-cedc76cc4ead"/>
    <ds:schemaRef ds:uri="http://www.w3.org/XML/1998/namespace"/>
    <ds:schemaRef ds:uri="c11c1625-d45f-4cae-993b-a7c42bc816ea"/>
    <ds:schemaRef ds:uri="http://purl.org/dc/elements/1.1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49E5AA9-1C6E-4505-8E76-272650FC18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1c1625-d45f-4cae-993b-a7c42bc816ea"/>
    <ds:schemaRef ds:uri="474538fb-c54f-410b-8eb8-cedc76cc4e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04</TotalTime>
  <Words>48</Words>
  <Application>Microsoft Macintosh PowerPoint</Application>
  <PresentationFormat>Widescreen</PresentationFormat>
  <Paragraphs>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Arial</vt:lpstr>
      <vt:lpstr>Calibri</vt:lpstr>
      <vt:lpstr>Segoe UI</vt:lpstr>
      <vt:lpstr>Segoe UI </vt:lpstr>
      <vt:lpstr>Segoe UI Light</vt:lpstr>
      <vt:lpstr>Segoe UI Semibold</vt:lpstr>
      <vt:lpstr>Visa Dialect Medium</vt:lpstr>
      <vt:lpstr>Visa Dialect Regular</vt:lpstr>
      <vt:lpstr>Visa Dialect Semibold</vt:lpstr>
      <vt:lpstr>VCA 2021 Theme_v2</vt:lpstr>
      <vt:lpstr>Visa Master Theme</vt:lpstr>
      <vt:lpstr>1_Visa Master Theme</vt:lpstr>
      <vt:lpstr>5_Visa Theme</vt:lpstr>
      <vt:lpstr>Visa Theme</vt:lpstr>
      <vt:lpstr>VCA 2021 Theme</vt:lpstr>
      <vt:lpstr>2_Visa Master Theme</vt:lpstr>
      <vt:lpstr>think-cell Slide</vt:lpstr>
      <vt:lpstr>Payment volume growth was similar relative to pe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</dc:title>
  <dc:creator>Gassman, Robert</dc:creator>
  <cp:keywords/>
  <cp:lastModifiedBy>Lalit Gupta</cp:lastModifiedBy>
  <cp:revision>59</cp:revision>
  <dcterms:created xsi:type="dcterms:W3CDTF">2022-01-06T18:41:35Z</dcterms:created>
  <dcterms:modified xsi:type="dcterms:W3CDTF">2024-08-16T05:5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0f89cb5-682d-4be4-b0e0-739c9b4a93d4_Enabled">
    <vt:lpwstr>true</vt:lpwstr>
  </property>
  <property fmtid="{D5CDD505-2E9C-101B-9397-08002B2CF9AE}" pid="3" name="MSIP_Label_a0f89cb5-682d-4be4-b0e0-739c9b4a93d4_SetDate">
    <vt:lpwstr>2022-01-06T18:41:35Z</vt:lpwstr>
  </property>
  <property fmtid="{D5CDD505-2E9C-101B-9397-08002B2CF9AE}" pid="4" name="MSIP_Label_a0f89cb5-682d-4be4-b0e0-739c9b4a93d4_Method">
    <vt:lpwstr>Standard</vt:lpwstr>
  </property>
  <property fmtid="{D5CDD505-2E9C-101B-9397-08002B2CF9AE}" pid="5" name="MSIP_Label_a0f89cb5-682d-4be4-b0e0-739c9b4a93d4_Name">
    <vt:lpwstr>Not Classified</vt:lpwstr>
  </property>
  <property fmtid="{D5CDD505-2E9C-101B-9397-08002B2CF9AE}" pid="6" name="MSIP_Label_a0f89cb5-682d-4be4-b0e0-739c9b4a93d4_SiteId">
    <vt:lpwstr>38305e12-e15d-4ee8-88b9-c4db1c477d76</vt:lpwstr>
  </property>
  <property fmtid="{D5CDD505-2E9C-101B-9397-08002B2CF9AE}" pid="7" name="MSIP_Label_a0f89cb5-682d-4be4-b0e0-739c9b4a93d4_ActionId">
    <vt:lpwstr>430a313a-7f64-4e1e-ae8f-0d7d4848b1ed</vt:lpwstr>
  </property>
  <property fmtid="{D5CDD505-2E9C-101B-9397-08002B2CF9AE}" pid="8" name="MSIP_Label_a0f89cb5-682d-4be4-b0e0-739c9b4a93d4_ContentBits">
    <vt:lpwstr>0</vt:lpwstr>
  </property>
  <property fmtid="{D5CDD505-2E9C-101B-9397-08002B2CF9AE}" pid="9" name="ContentTypeId">
    <vt:lpwstr>0x010100C91F698197ECBB459E7DE073A6AA6D20</vt:lpwstr>
  </property>
  <property fmtid="{D5CDD505-2E9C-101B-9397-08002B2CF9AE}" pid="10" name="TaxKeyword">
    <vt:lpwstr/>
  </property>
  <property fmtid="{D5CDD505-2E9C-101B-9397-08002B2CF9AE}" pid="11" name="MediaServiceImageTags">
    <vt:lpwstr/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lpwstr/>
  </property>
  <property fmtid="{D5CDD505-2E9C-101B-9397-08002B2CF9AE}" pid="18" name="SharedWithUsers">
    <vt:lpwstr>637;#Reyes, Vincent;#1465;#Akella, Chirag</vt:lpwstr>
  </property>
</Properties>
</file>